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compatMode="1" saveSubsetFonts="1" autoCompressPictures="0">
  <p:sldMasterIdLst>
    <p:sldMasterId id="2147483648" r:id="rId1"/>
  </p:sldMasterIdLst>
  <p:notesMasterIdLst>
    <p:notesMasterId r:id="rId27"/>
  </p:notesMasterIdLst>
  <p:sldIdLst>
    <p:sldId id="260" r:id="rId2"/>
    <p:sldId id="296" r:id="rId3"/>
    <p:sldId id="280" r:id="rId4"/>
    <p:sldId id="281" r:id="rId5"/>
    <p:sldId id="261" r:id="rId6"/>
    <p:sldId id="269" r:id="rId7"/>
    <p:sldId id="268" r:id="rId8"/>
    <p:sldId id="277" r:id="rId9"/>
    <p:sldId id="275" r:id="rId10"/>
    <p:sldId id="279" r:id="rId11"/>
    <p:sldId id="286" r:id="rId12"/>
    <p:sldId id="298" r:id="rId13"/>
    <p:sldId id="273" r:id="rId14"/>
    <p:sldId id="282" r:id="rId15"/>
    <p:sldId id="283" r:id="rId16"/>
    <p:sldId id="287" r:id="rId17"/>
    <p:sldId id="285" r:id="rId18"/>
    <p:sldId id="297" r:id="rId19"/>
    <p:sldId id="294" r:id="rId20"/>
    <p:sldId id="295" r:id="rId21"/>
    <p:sldId id="288" r:id="rId22"/>
    <p:sldId id="289" r:id="rId23"/>
    <p:sldId id="292" r:id="rId24"/>
    <p:sldId id="290" r:id="rId25"/>
    <p:sldId id="291" r:id="rId26"/>
  </p:sldIdLst>
  <p:sldSz cx="9144000" cy="6858000" type="screen4x3"/>
  <p:notesSz cx="6858000" cy="9144000"/>
  <p:defaultTextStyle>
    <a:defPPr>
      <a:defRPr lang="de-DE"/>
    </a:defPPr>
    <a:lvl1pPr algn="l"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3929">
          <p15:clr>
            <a:srgbClr val="A4A3A4"/>
          </p15:clr>
        </p15:guide>
        <p15:guide id="2" pos="161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425" autoAdjust="0"/>
    <p:restoredTop sz="75613" autoAdjust="0"/>
  </p:normalViewPr>
  <p:slideViewPr>
    <p:cSldViewPr>
      <p:cViewPr varScale="1">
        <p:scale>
          <a:sx n="83" d="100"/>
          <a:sy n="83" d="100"/>
        </p:scale>
        <p:origin x="2552" y="200"/>
      </p:cViewPr>
      <p:guideLst>
        <p:guide orient="horz" pos="3929"/>
        <p:guide pos="161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5C979671-6D7A-0F4A-A6D5-0A9F20E0FF2C}"/>
              </a:ext>
            </a:extLst>
          </p:cNvPr>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de-DE" altLang="de-DE"/>
          </a:p>
        </p:txBody>
      </p:sp>
      <p:sp>
        <p:nvSpPr>
          <p:cNvPr id="6147" name="Rectangle 3">
            <a:extLst>
              <a:ext uri="{FF2B5EF4-FFF2-40B4-BE49-F238E27FC236}">
                <a16:creationId xmlns:a16="http://schemas.microsoft.com/office/drawing/2014/main" id="{4512DAAF-31B9-1B49-9D09-ADC6F356D74C}"/>
              </a:ext>
            </a:extLst>
          </p:cNvPr>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de-DE" altLang="de-DE"/>
          </a:p>
        </p:txBody>
      </p:sp>
      <p:sp>
        <p:nvSpPr>
          <p:cNvPr id="6148" name="Rectangle 4">
            <a:extLst>
              <a:ext uri="{FF2B5EF4-FFF2-40B4-BE49-F238E27FC236}">
                <a16:creationId xmlns:a16="http://schemas.microsoft.com/office/drawing/2014/main" id="{91AE523F-804A-DE4C-B062-F9C425FAD1E9}"/>
              </a:ext>
            </a:extLst>
          </p:cNvPr>
          <p:cNvSpPr>
            <a:spLocks noRo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6149" name="Rectangle 5">
            <a:extLst>
              <a:ext uri="{FF2B5EF4-FFF2-40B4-BE49-F238E27FC236}">
                <a16:creationId xmlns:a16="http://schemas.microsoft.com/office/drawing/2014/main" id="{1BD0F4CA-C9F4-454D-AD9A-5BB63AD0EEE4}"/>
              </a:ext>
            </a:extLst>
          </p:cNvPr>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6150" name="Rectangle 6">
            <a:extLst>
              <a:ext uri="{FF2B5EF4-FFF2-40B4-BE49-F238E27FC236}">
                <a16:creationId xmlns:a16="http://schemas.microsoft.com/office/drawing/2014/main" id="{D67F7A87-73F8-6145-8AEE-F2AAA0BD9EF0}"/>
              </a:ext>
            </a:extLst>
          </p:cNvPr>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de-DE" altLang="de-DE"/>
          </a:p>
        </p:txBody>
      </p:sp>
      <p:sp>
        <p:nvSpPr>
          <p:cNvPr id="6151" name="Rectangle 7">
            <a:extLst>
              <a:ext uri="{FF2B5EF4-FFF2-40B4-BE49-F238E27FC236}">
                <a16:creationId xmlns:a16="http://schemas.microsoft.com/office/drawing/2014/main" id="{421064D0-8825-3144-B555-5B669557BA4C}"/>
              </a:ext>
            </a:extLst>
          </p:cNvPr>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4A9110E4-329D-4043-80A9-429D546C033F}" type="slidenum">
              <a:rPr lang="de-DE" altLang="de-DE"/>
              <a:pPr/>
              <a:t>‹Nr.›</a:t>
            </a:fld>
            <a:endParaRPr lang="de-DE" altLang="de-DE"/>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fontAlgn="base">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fontAlgn="base">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fontAlgn="base">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fontAlgn="base">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3809FB17-5A88-1043-BC09-8CF3B1139559}"/>
              </a:ext>
            </a:extLst>
          </p:cNvPr>
          <p:cNvSpPr>
            <a:spLocks noGrp="1" noChangeArrowheads="1"/>
          </p:cNvSpPr>
          <p:nvPr>
            <p:ph type="sldNum" sz="quarter" idx="5"/>
          </p:nvPr>
        </p:nvSpPr>
        <p:spPr>
          <a:ln/>
        </p:spPr>
        <p:txBody>
          <a:bodyPr/>
          <a:lstStyle/>
          <a:p>
            <a:fld id="{373B09B9-6C76-954A-B963-1DA47E02C44B}" type="slidenum">
              <a:rPr lang="de-DE" altLang="de-DE"/>
              <a:pPr/>
              <a:t>1</a:t>
            </a:fld>
            <a:endParaRPr lang="de-DE" altLang="de-DE"/>
          </a:p>
        </p:txBody>
      </p:sp>
      <p:sp>
        <p:nvSpPr>
          <p:cNvPr id="12290" name="Rectangle 2">
            <a:extLst>
              <a:ext uri="{FF2B5EF4-FFF2-40B4-BE49-F238E27FC236}">
                <a16:creationId xmlns:a16="http://schemas.microsoft.com/office/drawing/2014/main" id="{66E31D91-BF23-F145-9117-F578EFDE2C97}"/>
              </a:ext>
            </a:extLst>
          </p:cNvPr>
          <p:cNvSpPr>
            <a:spLocks noRot="1" noChangeArrowheads="1" noTextEdit="1"/>
          </p:cNvSpPr>
          <p:nvPr>
            <p:ph type="sldImg"/>
          </p:nvPr>
        </p:nvSpPr>
        <p:spPr>
          <a:ln/>
        </p:spPr>
      </p:sp>
      <p:sp>
        <p:nvSpPr>
          <p:cNvPr id="12291" name="Rectangle 3">
            <a:extLst>
              <a:ext uri="{FF2B5EF4-FFF2-40B4-BE49-F238E27FC236}">
                <a16:creationId xmlns:a16="http://schemas.microsoft.com/office/drawing/2014/main" id="{0D37CAE9-3FBE-7244-BA49-1961BC6035CF}"/>
              </a:ext>
            </a:extLst>
          </p:cNvPr>
          <p:cNvSpPr>
            <a:spLocks noGrp="1" noChangeArrowheads="1"/>
          </p:cNvSpPr>
          <p:nvPr>
            <p:ph type="body" idx="1"/>
          </p:nvPr>
        </p:nvSpPr>
        <p:spPr/>
        <p:txBody>
          <a:bodyPr/>
          <a:lstStyle/>
          <a:p>
            <a:endParaRPr lang="de-DE" alt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BE472905-2A48-4140-B06A-76397EE829EE}"/>
              </a:ext>
            </a:extLst>
          </p:cNvPr>
          <p:cNvSpPr>
            <a:spLocks noGrp="1" noChangeArrowheads="1"/>
          </p:cNvSpPr>
          <p:nvPr>
            <p:ph type="sldNum" sz="quarter" idx="5"/>
          </p:nvPr>
        </p:nvSpPr>
        <p:spPr>
          <a:ln/>
        </p:spPr>
        <p:txBody>
          <a:bodyPr/>
          <a:lstStyle/>
          <a:p>
            <a:fld id="{DD56AE54-2FC4-2A44-954E-55BA2D639B38}" type="slidenum">
              <a:rPr lang="de-DE" altLang="de-DE"/>
              <a:pPr/>
              <a:t>10</a:t>
            </a:fld>
            <a:endParaRPr lang="de-DE" altLang="de-DE"/>
          </a:p>
        </p:txBody>
      </p:sp>
      <p:sp>
        <p:nvSpPr>
          <p:cNvPr id="80898" name="Rectangle 2">
            <a:extLst>
              <a:ext uri="{FF2B5EF4-FFF2-40B4-BE49-F238E27FC236}">
                <a16:creationId xmlns:a16="http://schemas.microsoft.com/office/drawing/2014/main" id="{C3A3F4A6-6977-8842-9F7A-C8F1E9D692E7}"/>
              </a:ext>
            </a:extLst>
          </p:cNvPr>
          <p:cNvSpPr>
            <a:spLocks noRot="1" noChangeArrowheads="1" noTextEdit="1"/>
          </p:cNvSpPr>
          <p:nvPr>
            <p:ph type="sldImg"/>
          </p:nvPr>
        </p:nvSpPr>
        <p:spPr>
          <a:ln/>
        </p:spPr>
      </p:sp>
      <p:sp>
        <p:nvSpPr>
          <p:cNvPr id="80899" name="Rectangle 3">
            <a:extLst>
              <a:ext uri="{FF2B5EF4-FFF2-40B4-BE49-F238E27FC236}">
                <a16:creationId xmlns:a16="http://schemas.microsoft.com/office/drawing/2014/main" id="{1CBE39E6-9CD2-084B-8115-F7D23901353C}"/>
              </a:ext>
            </a:extLst>
          </p:cNvPr>
          <p:cNvSpPr>
            <a:spLocks noGrp="1" noChangeArrowheads="1"/>
          </p:cNvSpPr>
          <p:nvPr>
            <p:ph type="body" idx="1"/>
          </p:nvPr>
        </p:nvSpPr>
        <p:spPr/>
        <p:txBody>
          <a:bodyPr/>
          <a:lstStyle/>
          <a:p>
            <a:r>
              <a:rPr lang="de-DE" altLang="de-DE"/>
              <a:t>Hier nun die verschiedenen Kostenprognosen verglichen mit den Kohlesubventionen und dem Hochschulpakt (hier Bund und Länder) bis 2010. Der grüne Kasten darüber ist eine Frage an die Politik: Was kommt noch (nach 2010)?</a:t>
            </a:r>
          </a:p>
          <a:p>
            <a:r>
              <a:rPr lang="de-DE" altLang="de-DE"/>
              <a:t>Aktuell gibt es 33.000 Bergleute </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404BDEC1-E71E-9942-843A-BEB82648A92D}"/>
              </a:ext>
            </a:extLst>
          </p:cNvPr>
          <p:cNvSpPr>
            <a:spLocks noGrp="1" noChangeArrowheads="1"/>
          </p:cNvSpPr>
          <p:nvPr>
            <p:ph type="sldNum" sz="quarter" idx="5"/>
          </p:nvPr>
        </p:nvSpPr>
        <p:spPr>
          <a:ln/>
        </p:spPr>
        <p:txBody>
          <a:bodyPr/>
          <a:lstStyle/>
          <a:p>
            <a:fld id="{000064B3-DA42-CB41-A3C8-A9D52954F3D3}" type="slidenum">
              <a:rPr lang="de-DE" altLang="de-DE"/>
              <a:pPr/>
              <a:t>11</a:t>
            </a:fld>
            <a:endParaRPr lang="de-DE" altLang="de-DE"/>
          </a:p>
        </p:txBody>
      </p:sp>
      <p:sp>
        <p:nvSpPr>
          <p:cNvPr id="103426" name="Rectangle 2">
            <a:extLst>
              <a:ext uri="{FF2B5EF4-FFF2-40B4-BE49-F238E27FC236}">
                <a16:creationId xmlns:a16="http://schemas.microsoft.com/office/drawing/2014/main" id="{18F30462-5A25-5644-8561-7DD64DBA241E}"/>
              </a:ext>
            </a:extLst>
          </p:cNvPr>
          <p:cNvSpPr>
            <a:spLocks noRot="1" noChangeArrowheads="1" noTextEdit="1"/>
          </p:cNvSpPr>
          <p:nvPr>
            <p:ph type="sldImg"/>
          </p:nvPr>
        </p:nvSpPr>
        <p:spPr>
          <a:ln/>
        </p:spPr>
      </p:sp>
      <p:sp>
        <p:nvSpPr>
          <p:cNvPr id="103427" name="Rectangle 3">
            <a:extLst>
              <a:ext uri="{FF2B5EF4-FFF2-40B4-BE49-F238E27FC236}">
                <a16:creationId xmlns:a16="http://schemas.microsoft.com/office/drawing/2014/main" id="{C0A25712-CAAC-D241-AF23-D91A2FF6DA4D}"/>
              </a:ext>
            </a:extLst>
          </p:cNvPr>
          <p:cNvSpPr>
            <a:spLocks noGrp="1" noChangeArrowheads="1"/>
          </p:cNvSpPr>
          <p:nvPr>
            <p:ph type="body" idx="1"/>
          </p:nvPr>
        </p:nvSpPr>
        <p:spPr/>
        <p:txBody>
          <a:bodyPr/>
          <a:lstStyle/>
          <a:p>
            <a:r>
              <a:rPr lang="de-DE" altLang="de-DE"/>
              <a:t>Hier ein Vergleich zu den jährlichen Ausgaben für die Hochschulen in Deutschland</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84952E5-9EAE-FF4C-971C-39AF84A7BB14}"/>
              </a:ext>
            </a:extLst>
          </p:cNvPr>
          <p:cNvSpPr>
            <a:spLocks noGrp="1" noChangeArrowheads="1"/>
          </p:cNvSpPr>
          <p:nvPr>
            <p:ph type="sldNum" sz="quarter" idx="5"/>
          </p:nvPr>
        </p:nvSpPr>
        <p:spPr>
          <a:ln/>
        </p:spPr>
        <p:txBody>
          <a:bodyPr/>
          <a:lstStyle/>
          <a:p>
            <a:fld id="{6255E374-4627-9743-8BB4-98D1A45F09C9}" type="slidenum">
              <a:rPr lang="de-DE" altLang="de-DE"/>
              <a:pPr/>
              <a:t>12</a:t>
            </a:fld>
            <a:endParaRPr lang="de-DE" altLang="de-DE"/>
          </a:p>
        </p:txBody>
      </p:sp>
      <p:sp>
        <p:nvSpPr>
          <p:cNvPr id="129026" name="Rectangle 2">
            <a:extLst>
              <a:ext uri="{FF2B5EF4-FFF2-40B4-BE49-F238E27FC236}">
                <a16:creationId xmlns:a16="http://schemas.microsoft.com/office/drawing/2014/main" id="{5A767997-CDE8-F249-9005-F4323CF6DD13}"/>
              </a:ext>
            </a:extLst>
          </p:cNvPr>
          <p:cNvSpPr>
            <a:spLocks noRot="1" noChangeArrowheads="1" noTextEdit="1"/>
          </p:cNvSpPr>
          <p:nvPr>
            <p:ph type="sldImg"/>
          </p:nvPr>
        </p:nvSpPr>
        <p:spPr>
          <a:ln/>
        </p:spPr>
      </p:sp>
      <p:sp>
        <p:nvSpPr>
          <p:cNvPr id="129027" name="Rectangle 3">
            <a:extLst>
              <a:ext uri="{FF2B5EF4-FFF2-40B4-BE49-F238E27FC236}">
                <a16:creationId xmlns:a16="http://schemas.microsoft.com/office/drawing/2014/main" id="{CBA7884D-63B4-6A42-8ED2-E25F5EDCA393}"/>
              </a:ext>
            </a:extLst>
          </p:cNvPr>
          <p:cNvSpPr>
            <a:spLocks noGrp="1" noChangeArrowheads="1"/>
          </p:cNvSpPr>
          <p:nvPr>
            <p:ph type="body" idx="1"/>
          </p:nvPr>
        </p:nvSpPr>
        <p:spPr/>
        <p:txBody>
          <a:bodyPr/>
          <a:lstStyle/>
          <a:p>
            <a:endParaRPr lang="de-DE" altLang="de-D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594BE776-4963-5C49-AB6C-284F8EFA088A}"/>
              </a:ext>
            </a:extLst>
          </p:cNvPr>
          <p:cNvSpPr>
            <a:spLocks noGrp="1" noChangeArrowheads="1"/>
          </p:cNvSpPr>
          <p:nvPr>
            <p:ph type="sldNum" sz="quarter" idx="5"/>
          </p:nvPr>
        </p:nvSpPr>
        <p:spPr>
          <a:ln/>
        </p:spPr>
        <p:txBody>
          <a:bodyPr/>
          <a:lstStyle/>
          <a:p>
            <a:fld id="{9D3A6493-52A6-404F-B726-0F9349C8E6EC}" type="slidenum">
              <a:rPr lang="de-DE" altLang="de-DE"/>
              <a:pPr/>
              <a:t>13</a:t>
            </a:fld>
            <a:endParaRPr lang="de-DE" altLang="de-DE"/>
          </a:p>
        </p:txBody>
      </p:sp>
      <p:sp>
        <p:nvSpPr>
          <p:cNvPr id="67586" name="Rectangle 2">
            <a:extLst>
              <a:ext uri="{FF2B5EF4-FFF2-40B4-BE49-F238E27FC236}">
                <a16:creationId xmlns:a16="http://schemas.microsoft.com/office/drawing/2014/main" id="{6CF0D7BD-0A59-7A4E-8039-8CF91D1E342A}"/>
              </a:ext>
            </a:extLst>
          </p:cNvPr>
          <p:cNvSpPr>
            <a:spLocks noRot="1" noChangeArrowheads="1" noTextEdit="1"/>
          </p:cNvSpPr>
          <p:nvPr>
            <p:ph type="sldImg"/>
          </p:nvPr>
        </p:nvSpPr>
        <p:spPr>
          <a:ln/>
        </p:spPr>
      </p:sp>
      <p:sp>
        <p:nvSpPr>
          <p:cNvPr id="67587" name="Rectangle 3">
            <a:extLst>
              <a:ext uri="{FF2B5EF4-FFF2-40B4-BE49-F238E27FC236}">
                <a16:creationId xmlns:a16="http://schemas.microsoft.com/office/drawing/2014/main" id="{8EE2D352-2B27-8C41-B820-CAA964493E7D}"/>
              </a:ext>
            </a:extLst>
          </p:cNvPr>
          <p:cNvSpPr>
            <a:spLocks noGrp="1" noChangeArrowheads="1"/>
          </p:cNvSpPr>
          <p:nvPr>
            <p:ph type="body" idx="1"/>
          </p:nvPr>
        </p:nvSpPr>
        <p:spPr/>
        <p:txBody>
          <a:bodyPr/>
          <a:lstStyle/>
          <a:p>
            <a:r>
              <a:rPr lang="de-DE" altLang="de-DE"/>
              <a:t>Die aufsummierten zusätzlichen Studienanfänger bis 2020, wobei sie nur im Osten negativ sind. Als Übergang zum Thema Mobilität und Go East.</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B89FD50C-6BCF-CB40-A72A-7610F907E0B2}"/>
              </a:ext>
            </a:extLst>
          </p:cNvPr>
          <p:cNvSpPr>
            <a:spLocks noGrp="1" noChangeArrowheads="1"/>
          </p:cNvSpPr>
          <p:nvPr>
            <p:ph type="sldNum" sz="quarter" idx="5"/>
          </p:nvPr>
        </p:nvSpPr>
        <p:spPr>
          <a:ln/>
        </p:spPr>
        <p:txBody>
          <a:bodyPr/>
          <a:lstStyle/>
          <a:p>
            <a:fld id="{1E688683-BEBA-B647-9084-63C0734DFE32}" type="slidenum">
              <a:rPr lang="de-DE" altLang="de-DE"/>
              <a:pPr/>
              <a:t>14</a:t>
            </a:fld>
            <a:endParaRPr lang="de-DE" altLang="de-DE"/>
          </a:p>
        </p:txBody>
      </p:sp>
      <p:sp>
        <p:nvSpPr>
          <p:cNvPr id="90114" name="Rectangle 2">
            <a:extLst>
              <a:ext uri="{FF2B5EF4-FFF2-40B4-BE49-F238E27FC236}">
                <a16:creationId xmlns:a16="http://schemas.microsoft.com/office/drawing/2014/main" id="{4A9DF1A6-B4B1-C24D-8231-5D8718A45CBB}"/>
              </a:ext>
            </a:extLst>
          </p:cNvPr>
          <p:cNvSpPr>
            <a:spLocks noRot="1" noChangeArrowheads="1" noTextEdit="1"/>
          </p:cNvSpPr>
          <p:nvPr>
            <p:ph type="sldImg"/>
          </p:nvPr>
        </p:nvSpPr>
        <p:spPr>
          <a:ln/>
        </p:spPr>
      </p:sp>
      <p:sp>
        <p:nvSpPr>
          <p:cNvPr id="90115" name="Rectangle 3">
            <a:extLst>
              <a:ext uri="{FF2B5EF4-FFF2-40B4-BE49-F238E27FC236}">
                <a16:creationId xmlns:a16="http://schemas.microsoft.com/office/drawing/2014/main" id="{78DDC2B2-F4A2-2444-B45B-64A2A2520455}"/>
              </a:ext>
            </a:extLst>
          </p:cNvPr>
          <p:cNvSpPr>
            <a:spLocks noGrp="1" noChangeArrowheads="1"/>
          </p:cNvSpPr>
          <p:nvPr>
            <p:ph type="body" idx="1"/>
          </p:nvPr>
        </p:nvSpPr>
        <p:spPr/>
        <p:txBody>
          <a:bodyPr/>
          <a:lstStyle/>
          <a:p>
            <a:r>
              <a:rPr lang="de-DE" altLang="de-DE"/>
              <a:t>Die Länder bis freiwerdenden Studienplätzen und diejenigen mit Nachfrageüberschüssen (rot und grün)</a:t>
            </a:r>
          </a:p>
          <a:p>
            <a:r>
              <a:rPr lang="de-DE" altLang="de-DE"/>
              <a:t>Die Ost-West-Wanderung der Studienanfänger 2005. </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4DA17AB4-1986-5645-87B6-370AD28E911C}"/>
              </a:ext>
            </a:extLst>
          </p:cNvPr>
          <p:cNvSpPr>
            <a:spLocks noGrp="1" noChangeArrowheads="1"/>
          </p:cNvSpPr>
          <p:nvPr>
            <p:ph type="sldNum" sz="quarter" idx="5"/>
          </p:nvPr>
        </p:nvSpPr>
        <p:spPr>
          <a:ln/>
        </p:spPr>
        <p:txBody>
          <a:bodyPr/>
          <a:lstStyle/>
          <a:p>
            <a:fld id="{85BE719D-A81E-BA43-AC57-80040DE3A514}" type="slidenum">
              <a:rPr lang="de-DE" altLang="de-DE"/>
              <a:pPr/>
              <a:t>15</a:t>
            </a:fld>
            <a:endParaRPr lang="de-DE" altLang="de-DE"/>
          </a:p>
        </p:txBody>
      </p:sp>
      <p:sp>
        <p:nvSpPr>
          <p:cNvPr id="94210" name="Rectangle 2">
            <a:extLst>
              <a:ext uri="{FF2B5EF4-FFF2-40B4-BE49-F238E27FC236}">
                <a16:creationId xmlns:a16="http://schemas.microsoft.com/office/drawing/2014/main" id="{6FC2401E-4FAE-3044-9151-17B76AFC2406}"/>
              </a:ext>
            </a:extLst>
          </p:cNvPr>
          <p:cNvSpPr>
            <a:spLocks noRot="1" noChangeArrowheads="1" noTextEdit="1"/>
          </p:cNvSpPr>
          <p:nvPr>
            <p:ph type="sldImg"/>
          </p:nvPr>
        </p:nvSpPr>
        <p:spPr>
          <a:ln/>
        </p:spPr>
      </p:sp>
      <p:sp>
        <p:nvSpPr>
          <p:cNvPr id="94211" name="Rectangle 3">
            <a:extLst>
              <a:ext uri="{FF2B5EF4-FFF2-40B4-BE49-F238E27FC236}">
                <a16:creationId xmlns:a16="http://schemas.microsoft.com/office/drawing/2014/main" id="{E3443332-5BA6-2B4F-B27B-34B81D20497E}"/>
              </a:ext>
            </a:extLst>
          </p:cNvPr>
          <p:cNvSpPr>
            <a:spLocks noGrp="1" noChangeArrowheads="1"/>
          </p:cNvSpPr>
          <p:nvPr>
            <p:ph type="body" idx="1"/>
          </p:nvPr>
        </p:nvSpPr>
        <p:spPr/>
        <p:txBody>
          <a:bodyPr/>
          <a:lstStyle/>
          <a:p>
            <a:endParaRPr lang="de-DE" altLang="de-DE"/>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F041B4F7-BC22-6140-B2E1-B11F847C8185}"/>
              </a:ext>
            </a:extLst>
          </p:cNvPr>
          <p:cNvSpPr>
            <a:spLocks noGrp="1" noChangeArrowheads="1"/>
          </p:cNvSpPr>
          <p:nvPr>
            <p:ph type="sldNum" sz="quarter" idx="5"/>
          </p:nvPr>
        </p:nvSpPr>
        <p:spPr>
          <a:ln/>
        </p:spPr>
        <p:txBody>
          <a:bodyPr/>
          <a:lstStyle/>
          <a:p>
            <a:fld id="{EA4A67FB-6238-324B-920B-1AD15FDB8238}" type="slidenum">
              <a:rPr lang="de-DE" altLang="de-DE"/>
              <a:pPr/>
              <a:t>16</a:t>
            </a:fld>
            <a:endParaRPr lang="de-DE" altLang="de-DE"/>
          </a:p>
        </p:txBody>
      </p:sp>
      <p:sp>
        <p:nvSpPr>
          <p:cNvPr id="105474" name="Rectangle 2">
            <a:extLst>
              <a:ext uri="{FF2B5EF4-FFF2-40B4-BE49-F238E27FC236}">
                <a16:creationId xmlns:a16="http://schemas.microsoft.com/office/drawing/2014/main" id="{7706F729-A02B-7A47-9D08-91FDC37B69C3}"/>
              </a:ext>
            </a:extLst>
          </p:cNvPr>
          <p:cNvSpPr>
            <a:spLocks noRot="1" noChangeArrowheads="1" noTextEdit="1"/>
          </p:cNvSpPr>
          <p:nvPr>
            <p:ph type="sldImg"/>
          </p:nvPr>
        </p:nvSpPr>
        <p:spPr>
          <a:ln/>
        </p:spPr>
      </p:sp>
      <p:sp>
        <p:nvSpPr>
          <p:cNvPr id="105475" name="Rectangle 3">
            <a:extLst>
              <a:ext uri="{FF2B5EF4-FFF2-40B4-BE49-F238E27FC236}">
                <a16:creationId xmlns:a16="http://schemas.microsoft.com/office/drawing/2014/main" id="{D3AAB6BD-9EF5-294F-8412-8BE29D32BB22}"/>
              </a:ext>
            </a:extLst>
          </p:cNvPr>
          <p:cNvSpPr>
            <a:spLocks noGrp="1" noChangeArrowheads="1"/>
          </p:cNvSpPr>
          <p:nvPr>
            <p:ph type="body" idx="1"/>
          </p:nvPr>
        </p:nvSpPr>
        <p:spPr/>
        <p:txBody>
          <a:bodyPr/>
          <a:lstStyle/>
          <a:p>
            <a:r>
              <a:rPr lang="de-DE" altLang="de-DE"/>
              <a:t>„Mobilitätsrate“ bedeutet, wie viel Prozent der Studienanfänger ein Studium in einem fremden Bundesland anfangen. Aktuell zeigt sich noch kein klarer Trend in der historischen Entwicklung (2001 = älteste Daten). Interessant ist eben nur das hohe Ostniveau. Wenn man das westdeutsche Niveau auf des ostdeutsche anhebt, wäre eine Umkehr der Wanderung zwischen Ost und West möglich.</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B217E74D-3212-184F-B342-591C2B52C8B9}"/>
              </a:ext>
            </a:extLst>
          </p:cNvPr>
          <p:cNvSpPr>
            <a:spLocks noGrp="1" noChangeArrowheads="1"/>
          </p:cNvSpPr>
          <p:nvPr>
            <p:ph type="sldNum" sz="quarter" idx="5"/>
          </p:nvPr>
        </p:nvSpPr>
        <p:spPr>
          <a:ln/>
        </p:spPr>
        <p:txBody>
          <a:bodyPr/>
          <a:lstStyle/>
          <a:p>
            <a:fld id="{2DF1075B-DFFF-CB40-AE26-7DEEBECE0C41}" type="slidenum">
              <a:rPr lang="de-DE" altLang="de-DE"/>
              <a:pPr/>
              <a:t>17</a:t>
            </a:fld>
            <a:endParaRPr lang="de-DE" altLang="de-DE"/>
          </a:p>
        </p:txBody>
      </p:sp>
      <p:sp>
        <p:nvSpPr>
          <p:cNvPr id="100354" name="Rectangle 2">
            <a:extLst>
              <a:ext uri="{FF2B5EF4-FFF2-40B4-BE49-F238E27FC236}">
                <a16:creationId xmlns:a16="http://schemas.microsoft.com/office/drawing/2014/main" id="{A1CBFEE7-7CDF-FA48-8A59-DE4F4D8AFC36}"/>
              </a:ext>
            </a:extLst>
          </p:cNvPr>
          <p:cNvSpPr>
            <a:spLocks noRot="1" noChangeArrowheads="1" noTextEdit="1"/>
          </p:cNvSpPr>
          <p:nvPr>
            <p:ph type="sldImg"/>
          </p:nvPr>
        </p:nvSpPr>
        <p:spPr>
          <a:ln/>
        </p:spPr>
      </p:sp>
      <p:sp>
        <p:nvSpPr>
          <p:cNvPr id="100355" name="Rectangle 3">
            <a:extLst>
              <a:ext uri="{FF2B5EF4-FFF2-40B4-BE49-F238E27FC236}">
                <a16:creationId xmlns:a16="http://schemas.microsoft.com/office/drawing/2014/main" id="{0CBED8CA-BEA0-924C-93D4-923587649028}"/>
              </a:ext>
            </a:extLst>
          </p:cNvPr>
          <p:cNvSpPr>
            <a:spLocks noGrp="1" noChangeArrowheads="1"/>
          </p:cNvSpPr>
          <p:nvPr>
            <p:ph type="body" idx="1"/>
          </p:nvPr>
        </p:nvSpPr>
        <p:spPr/>
        <p:txBody>
          <a:bodyPr/>
          <a:lstStyle/>
          <a:p>
            <a:r>
              <a:rPr lang="de-DE" altLang="de-DE"/>
              <a:t>Die Einsparpotentiale durch vollständige Ausnutzung der freiwerdenden Plätze im Osten (was deren Erhalt natürlich voraussetzt).</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8DD6BCBB-71C6-8443-9BEC-7D667F148F1A}"/>
              </a:ext>
            </a:extLst>
          </p:cNvPr>
          <p:cNvSpPr>
            <a:spLocks noGrp="1" noChangeArrowheads="1"/>
          </p:cNvSpPr>
          <p:nvPr>
            <p:ph type="sldNum" sz="quarter" idx="5"/>
          </p:nvPr>
        </p:nvSpPr>
        <p:spPr>
          <a:ln/>
        </p:spPr>
        <p:txBody>
          <a:bodyPr/>
          <a:lstStyle/>
          <a:p>
            <a:fld id="{E4F724A7-1397-7C49-B1A2-676089A96227}" type="slidenum">
              <a:rPr lang="de-DE" altLang="de-DE"/>
              <a:pPr/>
              <a:t>18</a:t>
            </a:fld>
            <a:endParaRPr lang="de-DE" altLang="de-DE"/>
          </a:p>
        </p:txBody>
      </p:sp>
      <p:sp>
        <p:nvSpPr>
          <p:cNvPr id="126978" name="Rectangle 2">
            <a:extLst>
              <a:ext uri="{FF2B5EF4-FFF2-40B4-BE49-F238E27FC236}">
                <a16:creationId xmlns:a16="http://schemas.microsoft.com/office/drawing/2014/main" id="{9F6BBB11-2B66-1F4D-B004-B903B413906D}"/>
              </a:ext>
            </a:extLst>
          </p:cNvPr>
          <p:cNvSpPr>
            <a:spLocks noRot="1" noChangeArrowheads="1" noTextEdit="1"/>
          </p:cNvSpPr>
          <p:nvPr>
            <p:ph type="sldImg"/>
          </p:nvPr>
        </p:nvSpPr>
        <p:spPr>
          <a:ln/>
        </p:spPr>
      </p:sp>
      <p:sp>
        <p:nvSpPr>
          <p:cNvPr id="126979" name="Rectangle 3">
            <a:extLst>
              <a:ext uri="{FF2B5EF4-FFF2-40B4-BE49-F238E27FC236}">
                <a16:creationId xmlns:a16="http://schemas.microsoft.com/office/drawing/2014/main" id="{D45842E0-DC8D-EA4A-9894-F6524E14CE4C}"/>
              </a:ext>
            </a:extLst>
          </p:cNvPr>
          <p:cNvSpPr>
            <a:spLocks noGrp="1" noChangeArrowheads="1"/>
          </p:cNvSpPr>
          <p:nvPr>
            <p:ph type="body" idx="1"/>
          </p:nvPr>
        </p:nvSpPr>
        <p:spPr/>
        <p:txBody>
          <a:bodyPr/>
          <a:lstStyle/>
          <a:p>
            <a:endParaRPr lang="de-DE" altLang="de-DE"/>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87205C70-556B-7540-BA43-451FBE398C11}"/>
              </a:ext>
            </a:extLst>
          </p:cNvPr>
          <p:cNvSpPr>
            <a:spLocks noGrp="1" noChangeArrowheads="1"/>
          </p:cNvSpPr>
          <p:nvPr>
            <p:ph type="sldNum" sz="quarter" idx="5"/>
          </p:nvPr>
        </p:nvSpPr>
        <p:spPr>
          <a:ln/>
        </p:spPr>
        <p:txBody>
          <a:bodyPr/>
          <a:lstStyle/>
          <a:p>
            <a:fld id="{BA64DA9B-9784-B841-8749-BEA2195B977A}" type="slidenum">
              <a:rPr lang="de-DE" altLang="de-DE"/>
              <a:pPr/>
              <a:t>19</a:t>
            </a:fld>
            <a:endParaRPr lang="de-DE" altLang="de-DE"/>
          </a:p>
        </p:txBody>
      </p:sp>
      <p:sp>
        <p:nvSpPr>
          <p:cNvPr id="120834" name="Rectangle 2">
            <a:extLst>
              <a:ext uri="{FF2B5EF4-FFF2-40B4-BE49-F238E27FC236}">
                <a16:creationId xmlns:a16="http://schemas.microsoft.com/office/drawing/2014/main" id="{0846D69B-F8E1-834E-B94D-E384636115FF}"/>
              </a:ext>
            </a:extLst>
          </p:cNvPr>
          <p:cNvSpPr>
            <a:spLocks noRot="1" noChangeArrowheads="1" noTextEdit="1"/>
          </p:cNvSpPr>
          <p:nvPr>
            <p:ph type="sldImg"/>
          </p:nvPr>
        </p:nvSpPr>
        <p:spPr>
          <a:ln/>
        </p:spPr>
      </p:sp>
      <p:sp>
        <p:nvSpPr>
          <p:cNvPr id="120835" name="Rectangle 3">
            <a:extLst>
              <a:ext uri="{FF2B5EF4-FFF2-40B4-BE49-F238E27FC236}">
                <a16:creationId xmlns:a16="http://schemas.microsoft.com/office/drawing/2014/main" id="{4BF0BD12-95BC-F845-A737-E0C05BF9399E}"/>
              </a:ext>
            </a:extLst>
          </p:cNvPr>
          <p:cNvSpPr>
            <a:spLocks noGrp="1" noChangeArrowheads="1"/>
          </p:cNvSpPr>
          <p:nvPr>
            <p:ph type="body" idx="1"/>
          </p:nvPr>
        </p:nvSpPr>
        <p:spPr/>
        <p:txBody>
          <a:bodyPr/>
          <a:lstStyle/>
          <a:p>
            <a:r>
              <a:rPr lang="de-DE" altLang="de-DE"/>
              <a:t>Die Daten sind die Bertelsmann-Daten, wie sie im Demo-Atlas auch verwendet werden. Sie sind leider etwas älter (2003). Die 2005er Daten sind zwar längst beantragt, aber noch nicht da. </a:t>
            </a:r>
          </a:p>
          <a:p>
            <a:r>
              <a:rPr lang="de-DE" altLang="de-DE"/>
              <a:t>Regionale Unterschiede in Bayern im Hinblick auf die demographische Entwicklung der Altersgruppe 18-21. Die Stärke der Gruppe des Jahres 2005 wurde als Index 100 gesetzt. </a:t>
            </a:r>
          </a:p>
          <a:p>
            <a:r>
              <a:rPr lang="de-DE" altLang="de-DE"/>
              <a:t>WICHTIG: Es ist der Landkreis München (v.a. Münchner Süden) und nicht die Stadt München!</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0B3513A0-29E9-024E-A5D1-2F2C4DF5AC60}"/>
              </a:ext>
            </a:extLst>
          </p:cNvPr>
          <p:cNvSpPr>
            <a:spLocks noGrp="1" noChangeArrowheads="1"/>
          </p:cNvSpPr>
          <p:nvPr>
            <p:ph type="sldNum" sz="quarter" idx="5"/>
          </p:nvPr>
        </p:nvSpPr>
        <p:spPr>
          <a:ln/>
        </p:spPr>
        <p:txBody>
          <a:bodyPr/>
          <a:lstStyle/>
          <a:p>
            <a:fld id="{46BF89F8-8CBA-4A46-AC6C-16BFF287263D}" type="slidenum">
              <a:rPr lang="de-DE" altLang="de-DE"/>
              <a:pPr/>
              <a:t>2</a:t>
            </a:fld>
            <a:endParaRPr lang="de-DE" altLang="de-DE"/>
          </a:p>
        </p:txBody>
      </p:sp>
      <p:sp>
        <p:nvSpPr>
          <p:cNvPr id="124930" name="Rectangle 2">
            <a:extLst>
              <a:ext uri="{FF2B5EF4-FFF2-40B4-BE49-F238E27FC236}">
                <a16:creationId xmlns:a16="http://schemas.microsoft.com/office/drawing/2014/main" id="{40E202CB-37D3-BE43-A5D6-DF86CD60A365}"/>
              </a:ext>
            </a:extLst>
          </p:cNvPr>
          <p:cNvSpPr>
            <a:spLocks noRot="1" noChangeArrowheads="1" noTextEdit="1"/>
          </p:cNvSpPr>
          <p:nvPr>
            <p:ph type="sldImg"/>
          </p:nvPr>
        </p:nvSpPr>
        <p:spPr>
          <a:ln/>
        </p:spPr>
      </p:sp>
      <p:sp>
        <p:nvSpPr>
          <p:cNvPr id="124931" name="Rectangle 3">
            <a:extLst>
              <a:ext uri="{FF2B5EF4-FFF2-40B4-BE49-F238E27FC236}">
                <a16:creationId xmlns:a16="http://schemas.microsoft.com/office/drawing/2014/main" id="{1936F27E-A413-7F4A-92F2-0A0A783E02C0}"/>
              </a:ext>
            </a:extLst>
          </p:cNvPr>
          <p:cNvSpPr>
            <a:spLocks noGrp="1" noChangeArrowheads="1"/>
          </p:cNvSpPr>
          <p:nvPr>
            <p:ph type="body" idx="1"/>
          </p:nvPr>
        </p:nvSpPr>
        <p:spPr/>
        <p:txBody>
          <a:bodyPr/>
          <a:lstStyle/>
          <a:p>
            <a:endParaRPr lang="de-DE" altLang="de-DE"/>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F01FD17-E7C9-DD4A-AE64-AF851F4B771B}"/>
              </a:ext>
            </a:extLst>
          </p:cNvPr>
          <p:cNvSpPr>
            <a:spLocks noGrp="1" noChangeArrowheads="1"/>
          </p:cNvSpPr>
          <p:nvPr>
            <p:ph type="sldNum" sz="quarter" idx="5"/>
          </p:nvPr>
        </p:nvSpPr>
        <p:spPr>
          <a:ln/>
        </p:spPr>
        <p:txBody>
          <a:bodyPr/>
          <a:lstStyle/>
          <a:p>
            <a:fld id="{C746A89C-8822-EE48-9745-8C6996AFCE53}" type="slidenum">
              <a:rPr lang="de-DE" altLang="de-DE"/>
              <a:pPr/>
              <a:t>20</a:t>
            </a:fld>
            <a:endParaRPr lang="de-DE" altLang="de-DE"/>
          </a:p>
        </p:txBody>
      </p:sp>
      <p:sp>
        <p:nvSpPr>
          <p:cNvPr id="122882" name="Rectangle 2">
            <a:extLst>
              <a:ext uri="{FF2B5EF4-FFF2-40B4-BE49-F238E27FC236}">
                <a16:creationId xmlns:a16="http://schemas.microsoft.com/office/drawing/2014/main" id="{76B9D324-9380-AB44-AA00-D4FA6959EDC5}"/>
              </a:ext>
            </a:extLst>
          </p:cNvPr>
          <p:cNvSpPr>
            <a:spLocks noRot="1" noChangeArrowheads="1" noTextEdit="1"/>
          </p:cNvSpPr>
          <p:nvPr>
            <p:ph type="sldImg"/>
          </p:nvPr>
        </p:nvSpPr>
        <p:spPr>
          <a:ln/>
        </p:spPr>
      </p:sp>
      <p:sp>
        <p:nvSpPr>
          <p:cNvPr id="122883" name="Rectangle 3">
            <a:extLst>
              <a:ext uri="{FF2B5EF4-FFF2-40B4-BE49-F238E27FC236}">
                <a16:creationId xmlns:a16="http://schemas.microsoft.com/office/drawing/2014/main" id="{42C7C786-4929-304C-92E8-C5610A96B38B}"/>
              </a:ext>
            </a:extLst>
          </p:cNvPr>
          <p:cNvSpPr>
            <a:spLocks noGrp="1" noChangeArrowheads="1"/>
          </p:cNvSpPr>
          <p:nvPr>
            <p:ph type="body" idx="1"/>
          </p:nvPr>
        </p:nvSpPr>
        <p:spPr/>
        <p:txBody>
          <a:bodyPr/>
          <a:lstStyle/>
          <a:p>
            <a:r>
              <a:rPr lang="de-DE" altLang="de-DE"/>
              <a:t>Havelland ist nahe an Berlin </a:t>
            </a:r>
            <a:r>
              <a:rPr lang="de-DE" altLang="de-DE">
                <a:sym typeface="Wingdings" pitchFamily="2" charset="2"/>
              </a:rPr>
              <a:t> Speckgürtel-Phänomen</a:t>
            </a:r>
            <a:endParaRPr lang="de-DE" altLang="de-DE"/>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6FBC926C-461D-7640-B069-BD58CD384127}"/>
              </a:ext>
            </a:extLst>
          </p:cNvPr>
          <p:cNvSpPr>
            <a:spLocks noGrp="1" noChangeArrowheads="1"/>
          </p:cNvSpPr>
          <p:nvPr>
            <p:ph type="sldNum" sz="quarter" idx="5"/>
          </p:nvPr>
        </p:nvSpPr>
        <p:spPr>
          <a:ln/>
        </p:spPr>
        <p:txBody>
          <a:bodyPr/>
          <a:lstStyle/>
          <a:p>
            <a:fld id="{AD7D2891-124B-B04E-B15C-D62E720BAB7A}" type="slidenum">
              <a:rPr lang="de-DE" altLang="de-DE"/>
              <a:pPr/>
              <a:t>21</a:t>
            </a:fld>
            <a:endParaRPr lang="de-DE" altLang="de-DE"/>
          </a:p>
        </p:txBody>
      </p:sp>
      <p:sp>
        <p:nvSpPr>
          <p:cNvPr id="108546" name="Rectangle 2">
            <a:extLst>
              <a:ext uri="{FF2B5EF4-FFF2-40B4-BE49-F238E27FC236}">
                <a16:creationId xmlns:a16="http://schemas.microsoft.com/office/drawing/2014/main" id="{E66C64C5-621C-3149-BF7D-49F052931B07}"/>
              </a:ext>
            </a:extLst>
          </p:cNvPr>
          <p:cNvSpPr>
            <a:spLocks noRot="1" noChangeArrowheads="1" noTextEdit="1"/>
          </p:cNvSpPr>
          <p:nvPr>
            <p:ph type="sldImg"/>
          </p:nvPr>
        </p:nvSpPr>
        <p:spPr>
          <a:ln/>
        </p:spPr>
      </p:sp>
      <p:sp>
        <p:nvSpPr>
          <p:cNvPr id="108547" name="Rectangle 3">
            <a:extLst>
              <a:ext uri="{FF2B5EF4-FFF2-40B4-BE49-F238E27FC236}">
                <a16:creationId xmlns:a16="http://schemas.microsoft.com/office/drawing/2014/main" id="{9E4E6315-8289-E34E-A994-723B28D9EBF9}"/>
              </a:ext>
            </a:extLst>
          </p:cNvPr>
          <p:cNvSpPr>
            <a:spLocks noGrp="1" noChangeArrowheads="1"/>
          </p:cNvSpPr>
          <p:nvPr>
            <p:ph type="body" idx="1"/>
          </p:nvPr>
        </p:nvSpPr>
        <p:spPr/>
        <p:txBody>
          <a:bodyPr/>
          <a:lstStyle/>
          <a:p>
            <a:endParaRPr lang="de-DE" altLang="de-DE"/>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28BED894-92AD-A948-940D-041EC65FF081}"/>
              </a:ext>
            </a:extLst>
          </p:cNvPr>
          <p:cNvSpPr>
            <a:spLocks noGrp="1" noChangeArrowheads="1"/>
          </p:cNvSpPr>
          <p:nvPr>
            <p:ph type="sldNum" sz="quarter" idx="5"/>
          </p:nvPr>
        </p:nvSpPr>
        <p:spPr>
          <a:ln/>
        </p:spPr>
        <p:txBody>
          <a:bodyPr/>
          <a:lstStyle/>
          <a:p>
            <a:fld id="{2254D5FA-43B6-F848-88B2-F13F4A9738C9}" type="slidenum">
              <a:rPr lang="de-DE" altLang="de-DE"/>
              <a:pPr/>
              <a:t>22</a:t>
            </a:fld>
            <a:endParaRPr lang="de-DE" altLang="de-DE"/>
          </a:p>
        </p:txBody>
      </p:sp>
      <p:sp>
        <p:nvSpPr>
          <p:cNvPr id="110594" name="Rectangle 2">
            <a:extLst>
              <a:ext uri="{FF2B5EF4-FFF2-40B4-BE49-F238E27FC236}">
                <a16:creationId xmlns:a16="http://schemas.microsoft.com/office/drawing/2014/main" id="{6160D7AB-F782-574B-BD5C-9515323F9437}"/>
              </a:ext>
            </a:extLst>
          </p:cNvPr>
          <p:cNvSpPr>
            <a:spLocks noRot="1" noChangeArrowheads="1" noTextEdit="1"/>
          </p:cNvSpPr>
          <p:nvPr>
            <p:ph type="sldImg"/>
          </p:nvPr>
        </p:nvSpPr>
        <p:spPr>
          <a:ln/>
        </p:spPr>
      </p:sp>
      <p:sp>
        <p:nvSpPr>
          <p:cNvPr id="110595" name="Rectangle 3">
            <a:extLst>
              <a:ext uri="{FF2B5EF4-FFF2-40B4-BE49-F238E27FC236}">
                <a16:creationId xmlns:a16="http://schemas.microsoft.com/office/drawing/2014/main" id="{3437526A-267C-B94C-8516-CE7AECA461A2}"/>
              </a:ext>
            </a:extLst>
          </p:cNvPr>
          <p:cNvSpPr>
            <a:spLocks noGrp="1" noChangeArrowheads="1"/>
          </p:cNvSpPr>
          <p:nvPr>
            <p:ph type="body" idx="1"/>
          </p:nvPr>
        </p:nvSpPr>
        <p:spPr/>
        <p:txBody>
          <a:bodyPr/>
          <a:lstStyle/>
          <a:p>
            <a:r>
              <a:rPr lang="de-DE" altLang="de-DE"/>
              <a:t>Bipolarer Einzugsschwerpunkt: Stadt Brandenburg a. d. Havel und Berlin mit insgesamt ca. 45 % der StudienanfängerInnen</a:t>
            </a:r>
          </a:p>
          <a:p>
            <a:r>
              <a:rPr lang="de-DE" altLang="de-DE"/>
              <a:t>Höhere Einzugsdichte in den Kreisen des Landes Brandenburg, für anliegende Kreise Sachsen-Anhalts nur schwacher Einzug</a:t>
            </a:r>
          </a:p>
          <a:p>
            <a:r>
              <a:rPr lang="de-DE" altLang="de-DE"/>
              <a:t>Bewegung der StudienanfängerInnen entlang der Regionalbahnstrecke Magdeburg – Brandenburg – Berlin</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6D3AB729-4870-8A42-86BB-21D952264B06}"/>
              </a:ext>
            </a:extLst>
          </p:cNvPr>
          <p:cNvSpPr>
            <a:spLocks noGrp="1" noChangeArrowheads="1"/>
          </p:cNvSpPr>
          <p:nvPr>
            <p:ph type="sldNum" sz="quarter" idx="5"/>
          </p:nvPr>
        </p:nvSpPr>
        <p:spPr>
          <a:ln/>
        </p:spPr>
        <p:txBody>
          <a:bodyPr/>
          <a:lstStyle/>
          <a:p>
            <a:fld id="{3DCABC93-4C38-544E-B3E3-B4B31D0A6EC9}" type="slidenum">
              <a:rPr lang="de-DE" altLang="de-DE"/>
              <a:pPr/>
              <a:t>23</a:t>
            </a:fld>
            <a:endParaRPr lang="de-DE" altLang="de-DE"/>
          </a:p>
        </p:txBody>
      </p:sp>
      <p:sp>
        <p:nvSpPr>
          <p:cNvPr id="116738" name="Rectangle 2">
            <a:extLst>
              <a:ext uri="{FF2B5EF4-FFF2-40B4-BE49-F238E27FC236}">
                <a16:creationId xmlns:a16="http://schemas.microsoft.com/office/drawing/2014/main" id="{C7460A29-4425-9446-B24B-A0CF06006BAA}"/>
              </a:ext>
            </a:extLst>
          </p:cNvPr>
          <p:cNvSpPr>
            <a:spLocks noRot="1" noChangeArrowheads="1" noTextEdit="1"/>
          </p:cNvSpPr>
          <p:nvPr>
            <p:ph type="sldImg"/>
          </p:nvPr>
        </p:nvSpPr>
        <p:spPr>
          <a:ln/>
        </p:spPr>
      </p:sp>
      <p:sp>
        <p:nvSpPr>
          <p:cNvPr id="116739" name="Rectangle 3">
            <a:extLst>
              <a:ext uri="{FF2B5EF4-FFF2-40B4-BE49-F238E27FC236}">
                <a16:creationId xmlns:a16="http://schemas.microsoft.com/office/drawing/2014/main" id="{B68A0BFE-2D16-6B4A-AFC1-C183B3EABD14}"/>
              </a:ext>
            </a:extLst>
          </p:cNvPr>
          <p:cNvSpPr>
            <a:spLocks noGrp="1" noChangeArrowheads="1"/>
          </p:cNvSpPr>
          <p:nvPr>
            <p:ph type="body" idx="1"/>
          </p:nvPr>
        </p:nvSpPr>
        <p:spPr/>
        <p:txBody>
          <a:bodyPr/>
          <a:lstStyle/>
          <a:p>
            <a:r>
              <a:rPr lang="de-DE" altLang="de-DE"/>
              <a:t>Grundlage ist die demographische Entwicklung des relevanten Altersjahrgangs (bei dreizehn Jahren Schule: 18 bis unter 21; bei zwölf Jahren Schule 17 bis unter 20) gemäß der Daten der BST (wie im Datenatlas)</a:t>
            </a:r>
          </a:p>
          <a:p>
            <a:r>
              <a:rPr lang="de-DE" altLang="de-DE"/>
              <a:t>Dafür wurde die demographische Entwicklung in den Einzugsgebieten jeweils gewichtet berücksichtigt. Die verzögerte Studienaufnahme ist hier nicht mit eingeflossen (es fehlen die Daten). Ebenso liegen in allen HZBler-Prognosen die Werte über dem demographischen Trend, weshalb das Bild hier besonders pessimistisch ist.</a:t>
            </a:r>
          </a:p>
          <a:p>
            <a:r>
              <a:rPr lang="de-DE" altLang="de-DE"/>
              <a:t>Der Ausschlag in 2012 hängt mit den doppelten Abiturjahrgängen in Berlin und BB zusammen.</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B7F17D1A-4458-CC4F-8805-D0AC5A02FE9D}"/>
              </a:ext>
            </a:extLst>
          </p:cNvPr>
          <p:cNvSpPr>
            <a:spLocks noGrp="1" noChangeArrowheads="1"/>
          </p:cNvSpPr>
          <p:nvPr>
            <p:ph type="sldNum" sz="quarter" idx="5"/>
          </p:nvPr>
        </p:nvSpPr>
        <p:spPr>
          <a:ln/>
        </p:spPr>
        <p:txBody>
          <a:bodyPr/>
          <a:lstStyle/>
          <a:p>
            <a:fld id="{FBFC6A1D-26B6-AA4D-AE3A-4E82701B07F9}" type="slidenum">
              <a:rPr lang="de-DE" altLang="de-DE"/>
              <a:pPr/>
              <a:t>24</a:t>
            </a:fld>
            <a:endParaRPr lang="de-DE" altLang="de-DE"/>
          </a:p>
        </p:txBody>
      </p:sp>
      <p:sp>
        <p:nvSpPr>
          <p:cNvPr id="112642" name="Rectangle 2">
            <a:extLst>
              <a:ext uri="{FF2B5EF4-FFF2-40B4-BE49-F238E27FC236}">
                <a16:creationId xmlns:a16="http://schemas.microsoft.com/office/drawing/2014/main" id="{28CB32E8-9E8E-294F-80D7-04A7B2B7EC40}"/>
              </a:ext>
            </a:extLst>
          </p:cNvPr>
          <p:cNvSpPr>
            <a:spLocks noRot="1" noChangeArrowheads="1" noTextEdit="1"/>
          </p:cNvSpPr>
          <p:nvPr>
            <p:ph type="sldImg"/>
          </p:nvPr>
        </p:nvSpPr>
        <p:spPr>
          <a:ln/>
        </p:spPr>
      </p:sp>
      <p:sp>
        <p:nvSpPr>
          <p:cNvPr id="112643" name="Rectangle 3">
            <a:extLst>
              <a:ext uri="{FF2B5EF4-FFF2-40B4-BE49-F238E27FC236}">
                <a16:creationId xmlns:a16="http://schemas.microsoft.com/office/drawing/2014/main" id="{C96BE99C-9697-4C45-ABF9-AB6A13F9D94A}"/>
              </a:ext>
            </a:extLst>
          </p:cNvPr>
          <p:cNvSpPr>
            <a:spLocks noGrp="1" noChangeArrowheads="1"/>
          </p:cNvSpPr>
          <p:nvPr>
            <p:ph type="body" idx="1"/>
          </p:nvPr>
        </p:nvSpPr>
        <p:spPr/>
        <p:txBody>
          <a:bodyPr/>
          <a:lstStyle/>
          <a:p>
            <a:r>
              <a:rPr lang="de-DE" altLang="de-DE"/>
              <a:t>In den Kreisen ist der Marktanteil der Hochschule an den Studienanfänger aus dem Kreis wiedergegeben. Hier zeigen sich Potentiale in der zukünftigen Studierendenakquise</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BC445E6E-3787-9546-B5DA-85CD1B9E7C4A}"/>
              </a:ext>
            </a:extLst>
          </p:cNvPr>
          <p:cNvSpPr>
            <a:spLocks noGrp="1" noChangeArrowheads="1"/>
          </p:cNvSpPr>
          <p:nvPr>
            <p:ph type="sldNum" sz="quarter" idx="5"/>
          </p:nvPr>
        </p:nvSpPr>
        <p:spPr>
          <a:ln/>
        </p:spPr>
        <p:txBody>
          <a:bodyPr/>
          <a:lstStyle/>
          <a:p>
            <a:fld id="{9F6A9796-452F-A142-92E6-D38B86A4C195}" type="slidenum">
              <a:rPr lang="de-DE" altLang="de-DE"/>
              <a:pPr/>
              <a:t>25</a:t>
            </a:fld>
            <a:endParaRPr lang="de-DE" altLang="de-DE"/>
          </a:p>
        </p:txBody>
      </p:sp>
      <p:sp>
        <p:nvSpPr>
          <p:cNvPr id="114690" name="Rectangle 2">
            <a:extLst>
              <a:ext uri="{FF2B5EF4-FFF2-40B4-BE49-F238E27FC236}">
                <a16:creationId xmlns:a16="http://schemas.microsoft.com/office/drawing/2014/main" id="{1E7DFEBA-ED5D-E341-AF93-9212B1C9C06C}"/>
              </a:ext>
            </a:extLst>
          </p:cNvPr>
          <p:cNvSpPr>
            <a:spLocks noRot="1" noChangeArrowheads="1" noTextEdit="1"/>
          </p:cNvSpPr>
          <p:nvPr>
            <p:ph type="sldImg"/>
          </p:nvPr>
        </p:nvSpPr>
        <p:spPr>
          <a:ln/>
        </p:spPr>
      </p:sp>
      <p:sp>
        <p:nvSpPr>
          <p:cNvPr id="114691" name="Rectangle 3">
            <a:extLst>
              <a:ext uri="{FF2B5EF4-FFF2-40B4-BE49-F238E27FC236}">
                <a16:creationId xmlns:a16="http://schemas.microsoft.com/office/drawing/2014/main" id="{1BED31C2-5E30-3144-B9E2-119AF48172AF}"/>
              </a:ext>
            </a:extLst>
          </p:cNvPr>
          <p:cNvSpPr>
            <a:spLocks noGrp="1" noChangeArrowheads="1"/>
          </p:cNvSpPr>
          <p:nvPr>
            <p:ph type="body" idx="1"/>
          </p:nvPr>
        </p:nvSpPr>
        <p:spPr/>
        <p:txBody>
          <a:bodyPr/>
          <a:lstStyle/>
          <a:p>
            <a:r>
              <a:rPr lang="de-DE" altLang="de-DE"/>
              <a:t>Hier schließlich ein Vergleich mit den Mitbewerbern der FH Brandenburg. Berücksichtigt wurden nur Hochschulen mit einem ähnlichen Fächerspektrum (siehe auch nächste Folie). Die Darstellung zeigt die Situation in den Kreisen und hilft die Wettbewerbssituation besser zu kartieren. </a:t>
            </a:r>
          </a:p>
          <a:p>
            <a:r>
              <a:rPr lang="de-DE" altLang="de-DE"/>
              <a:t>Interessant ist die klare Linie an der Landesgrenze (besonders zu sehen an der H Magdeburg).</a:t>
            </a:r>
          </a:p>
          <a:p>
            <a:r>
              <a:rPr lang="de-DE" altLang="de-DE"/>
              <a:t>In einem nächsten Schritt könnte man dies nun nach Fächern differenzieren.</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8B76B1C-2786-F044-8E69-CFB5EE64EC89}"/>
              </a:ext>
            </a:extLst>
          </p:cNvPr>
          <p:cNvSpPr>
            <a:spLocks noGrp="1" noChangeArrowheads="1"/>
          </p:cNvSpPr>
          <p:nvPr>
            <p:ph type="sldNum" sz="quarter" idx="5"/>
          </p:nvPr>
        </p:nvSpPr>
        <p:spPr>
          <a:ln/>
        </p:spPr>
        <p:txBody>
          <a:bodyPr/>
          <a:lstStyle/>
          <a:p>
            <a:fld id="{FEEE792A-96A6-A34C-9408-CD9C90C9F81B}" type="slidenum">
              <a:rPr lang="de-DE" altLang="de-DE"/>
              <a:pPr/>
              <a:t>3</a:t>
            </a:fld>
            <a:endParaRPr lang="de-DE" altLang="de-DE"/>
          </a:p>
        </p:txBody>
      </p:sp>
      <p:sp>
        <p:nvSpPr>
          <p:cNvPr id="86018" name="Rectangle 2">
            <a:extLst>
              <a:ext uri="{FF2B5EF4-FFF2-40B4-BE49-F238E27FC236}">
                <a16:creationId xmlns:a16="http://schemas.microsoft.com/office/drawing/2014/main" id="{9E16BF62-EE69-8340-88FF-8679BE5B023E}"/>
              </a:ext>
            </a:extLst>
          </p:cNvPr>
          <p:cNvSpPr>
            <a:spLocks noRot="1" noChangeArrowheads="1" noTextEdit="1"/>
          </p:cNvSpPr>
          <p:nvPr>
            <p:ph type="sldImg"/>
          </p:nvPr>
        </p:nvSpPr>
        <p:spPr>
          <a:ln/>
        </p:spPr>
      </p:sp>
      <p:sp>
        <p:nvSpPr>
          <p:cNvPr id="86019" name="Rectangle 3">
            <a:extLst>
              <a:ext uri="{FF2B5EF4-FFF2-40B4-BE49-F238E27FC236}">
                <a16:creationId xmlns:a16="http://schemas.microsoft.com/office/drawing/2014/main" id="{08DE7B26-3632-CE43-B5CA-811F92274172}"/>
              </a:ext>
            </a:extLst>
          </p:cNvPr>
          <p:cNvSpPr>
            <a:spLocks noGrp="1" noChangeArrowheads="1"/>
          </p:cNvSpPr>
          <p:nvPr>
            <p:ph type="body" idx="1"/>
          </p:nvPr>
        </p:nvSpPr>
        <p:spPr/>
        <p:txBody>
          <a:bodyPr/>
          <a:lstStyle/>
          <a:p>
            <a:r>
              <a:rPr lang="de-DE" altLang="de-DE"/>
              <a:t>Die alte KMK-Prognose haben wir genommen, weil die neue Prognose ohne erfindlichen Gründen 680.000 HZBler von 2005 bis 2020 mehr aufweist als die alte (+10,7%). Erstaunlich ist u.a., dass die Zuwächse v.a. auf die Gymnasiasten fallen, der Zuwachs der letzten Jahre aber durch die Zunahme an FH-Reifen zustande kam. Außerdem liegen die Zahlen auch schon für die HZBler vor 2011 höher, dabei sind sie längst im System, was uns die Zuwächse aus sachlichen Gründen nicht nachvollziehbar sein läßt. Die KMK erhält ihre Daten von den Landesstatistikämtern, die wiederum von den Schulministerien Weisungen erhalten, wie sie die Statistiken anzufertigen haben.</a:t>
            </a:r>
          </a:p>
          <a:p>
            <a:r>
              <a:rPr lang="de-DE" altLang="de-DE"/>
              <a:t>Der verzögerte Übergang basiert auf den aktuellsten Daten (2006) und bedeutet, dass zum einen die landesspezifische Übergangsquote (HZB</a:t>
            </a:r>
            <a:r>
              <a:rPr lang="de-DE" altLang="de-DE">
                <a:sym typeface="Wingdings" pitchFamily="2" charset="2"/>
              </a:rPr>
              <a:t>Studienaufnahme) erfasst wird und zudem der Zeitpunkt, wann dies geschieht.</a:t>
            </a:r>
          </a:p>
          <a:p>
            <a:r>
              <a:rPr lang="de-DE" altLang="de-DE">
                <a:sym typeface="Wingdings" pitchFamily="2" charset="2"/>
              </a:rPr>
              <a:t>Die Mobilitätsmatrix ist von der KMK und von ihr freigegeben, von daher können wir sie hier verwenden. Sie differenziert zwischen Ort der HZB und Studienort und zeigt so die innerdeutsche Mobilität auf.</a:t>
            </a:r>
            <a:r>
              <a:rPr lang="de-DE" altLang="de-DE"/>
              <a:t>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870AF5F7-9B0A-EC42-B1F4-FCDC90333283}"/>
              </a:ext>
            </a:extLst>
          </p:cNvPr>
          <p:cNvSpPr>
            <a:spLocks noGrp="1" noChangeArrowheads="1"/>
          </p:cNvSpPr>
          <p:nvPr>
            <p:ph type="sldNum" sz="quarter" idx="5"/>
          </p:nvPr>
        </p:nvSpPr>
        <p:spPr>
          <a:ln/>
        </p:spPr>
        <p:txBody>
          <a:bodyPr/>
          <a:lstStyle/>
          <a:p>
            <a:fld id="{46997690-7580-1041-A960-83E719FB07CC}" type="slidenum">
              <a:rPr lang="de-DE" altLang="de-DE"/>
              <a:pPr/>
              <a:t>4</a:t>
            </a:fld>
            <a:endParaRPr lang="de-DE" altLang="de-DE"/>
          </a:p>
        </p:txBody>
      </p:sp>
      <p:sp>
        <p:nvSpPr>
          <p:cNvPr id="88066" name="Rectangle 2">
            <a:extLst>
              <a:ext uri="{FF2B5EF4-FFF2-40B4-BE49-F238E27FC236}">
                <a16:creationId xmlns:a16="http://schemas.microsoft.com/office/drawing/2014/main" id="{E6FEF76D-FEDC-CB40-9AEF-C22277BB512C}"/>
              </a:ext>
            </a:extLst>
          </p:cNvPr>
          <p:cNvSpPr>
            <a:spLocks noRot="1" noChangeArrowheads="1" noTextEdit="1"/>
          </p:cNvSpPr>
          <p:nvPr>
            <p:ph type="sldImg"/>
          </p:nvPr>
        </p:nvSpPr>
        <p:spPr>
          <a:ln/>
        </p:spPr>
      </p:sp>
      <p:sp>
        <p:nvSpPr>
          <p:cNvPr id="88067" name="Rectangle 3">
            <a:extLst>
              <a:ext uri="{FF2B5EF4-FFF2-40B4-BE49-F238E27FC236}">
                <a16:creationId xmlns:a16="http://schemas.microsoft.com/office/drawing/2014/main" id="{2821B258-5DB7-B94A-974D-B6BC3772CD4B}"/>
              </a:ext>
            </a:extLst>
          </p:cNvPr>
          <p:cNvSpPr>
            <a:spLocks noGrp="1" noChangeArrowheads="1"/>
          </p:cNvSpPr>
          <p:nvPr>
            <p:ph type="body" idx="1"/>
          </p:nvPr>
        </p:nvSpPr>
        <p:spPr/>
        <p:txBody>
          <a:bodyPr/>
          <a:lstStyle/>
          <a:p>
            <a:r>
              <a:rPr lang="de-DE" altLang="de-DE"/>
              <a:t>Dies sehe ich als Hauptpunkt gegen Dohmen an, der das Hochschulsystem vollständig simuliert und aufgrund der Studienzeitverkürzung sagt, dass wir weniger Studierende haben werden und die Rede vom Studierendenhoch nur bis 2010 halbwegs Sinn macht, denn danach würden sie drastisch zurückgehen. Unsere Argumentation ist, dass dies nicht die tatsächliche Herausforderung widergibt, vor dem das deutsche Hochschulsystem steht. Ein besserer Indikator sind die Studienanfänger aus den oben genannten Gründen</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770A3D6C-9071-B347-AABE-BE74CAD92903}"/>
              </a:ext>
            </a:extLst>
          </p:cNvPr>
          <p:cNvSpPr>
            <a:spLocks noGrp="1" noChangeArrowheads="1"/>
          </p:cNvSpPr>
          <p:nvPr>
            <p:ph type="sldNum" sz="quarter" idx="5"/>
          </p:nvPr>
        </p:nvSpPr>
        <p:spPr>
          <a:ln/>
        </p:spPr>
        <p:txBody>
          <a:bodyPr/>
          <a:lstStyle/>
          <a:p>
            <a:fld id="{CD17B52C-9D8D-CB46-9639-D5CAAF5C2D85}" type="slidenum">
              <a:rPr lang="de-DE" altLang="de-DE"/>
              <a:pPr/>
              <a:t>5</a:t>
            </a:fld>
            <a:endParaRPr lang="de-DE" altLang="de-DE"/>
          </a:p>
        </p:txBody>
      </p:sp>
      <p:sp>
        <p:nvSpPr>
          <p:cNvPr id="29698" name="Rectangle 2">
            <a:extLst>
              <a:ext uri="{FF2B5EF4-FFF2-40B4-BE49-F238E27FC236}">
                <a16:creationId xmlns:a16="http://schemas.microsoft.com/office/drawing/2014/main" id="{5EEF8108-BB9B-B741-A8B0-46C416B0D2F6}"/>
              </a:ext>
            </a:extLst>
          </p:cNvPr>
          <p:cNvSpPr>
            <a:spLocks noRot="1" noChangeArrowheads="1" noTextEdit="1"/>
          </p:cNvSpPr>
          <p:nvPr>
            <p:ph type="sldImg"/>
          </p:nvPr>
        </p:nvSpPr>
        <p:spPr>
          <a:ln/>
        </p:spPr>
      </p:sp>
      <p:sp>
        <p:nvSpPr>
          <p:cNvPr id="29699" name="Rectangle 3">
            <a:extLst>
              <a:ext uri="{FF2B5EF4-FFF2-40B4-BE49-F238E27FC236}">
                <a16:creationId xmlns:a16="http://schemas.microsoft.com/office/drawing/2014/main" id="{C8C90207-A8A1-F248-85FC-44D81C8870BB}"/>
              </a:ext>
            </a:extLst>
          </p:cNvPr>
          <p:cNvSpPr>
            <a:spLocks noGrp="1" noChangeArrowheads="1"/>
          </p:cNvSpPr>
          <p:nvPr>
            <p:ph type="body" idx="1"/>
          </p:nvPr>
        </p:nvSpPr>
        <p:spPr/>
        <p:txBody>
          <a:bodyPr/>
          <a:lstStyle/>
          <a:p>
            <a:r>
              <a:rPr lang="de-DE" altLang="de-DE"/>
              <a:t>Dies ist die Prognose der zusätzlichen Studienanfänger, wobei die frei werdenden Kapazitäten im Osten grün und positiv dargestellt sind (wie in AP 77). Hier von Kapazitäten zu sprechen ist schwierig, da es weder personal- noch flächenbezogene Kapazitäten im rechtlichen Sinne sind. Grundlage ist hier einfach die Anzahl der Studienanfänger des Jahres 2005</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3618F829-6008-A44D-B313-1265C585A56D}"/>
              </a:ext>
            </a:extLst>
          </p:cNvPr>
          <p:cNvSpPr>
            <a:spLocks noGrp="1" noChangeArrowheads="1"/>
          </p:cNvSpPr>
          <p:nvPr>
            <p:ph type="sldNum" sz="quarter" idx="5"/>
          </p:nvPr>
        </p:nvSpPr>
        <p:spPr>
          <a:ln/>
        </p:spPr>
        <p:txBody>
          <a:bodyPr/>
          <a:lstStyle/>
          <a:p>
            <a:fld id="{CD3A66D7-3B04-7242-9B99-2D86FE08474A}" type="slidenum">
              <a:rPr lang="de-DE" altLang="de-DE"/>
              <a:pPr/>
              <a:t>6</a:t>
            </a:fld>
            <a:endParaRPr lang="de-DE" altLang="de-DE"/>
          </a:p>
        </p:txBody>
      </p:sp>
      <p:sp>
        <p:nvSpPr>
          <p:cNvPr id="59394" name="Rectangle 2">
            <a:extLst>
              <a:ext uri="{FF2B5EF4-FFF2-40B4-BE49-F238E27FC236}">
                <a16:creationId xmlns:a16="http://schemas.microsoft.com/office/drawing/2014/main" id="{6576C772-FE7F-2644-A30B-BEBB09720B31}"/>
              </a:ext>
            </a:extLst>
          </p:cNvPr>
          <p:cNvSpPr>
            <a:spLocks noRot="1" noChangeArrowheads="1" noTextEdit="1"/>
          </p:cNvSpPr>
          <p:nvPr>
            <p:ph type="sldImg"/>
          </p:nvPr>
        </p:nvSpPr>
        <p:spPr>
          <a:ln/>
        </p:spPr>
      </p:sp>
      <p:sp>
        <p:nvSpPr>
          <p:cNvPr id="59395" name="Rectangle 3">
            <a:extLst>
              <a:ext uri="{FF2B5EF4-FFF2-40B4-BE49-F238E27FC236}">
                <a16:creationId xmlns:a16="http://schemas.microsoft.com/office/drawing/2014/main" id="{6EE428AE-D2FE-6E4E-A3C8-F93CFE2E7775}"/>
              </a:ext>
            </a:extLst>
          </p:cNvPr>
          <p:cNvSpPr>
            <a:spLocks noGrp="1" noChangeArrowheads="1"/>
          </p:cNvSpPr>
          <p:nvPr>
            <p:ph type="body" idx="1"/>
          </p:nvPr>
        </p:nvSpPr>
        <p:spPr/>
        <p:txBody>
          <a:bodyPr/>
          <a:lstStyle/>
          <a:p>
            <a:r>
              <a:rPr lang="de-DE" altLang="de-DE"/>
              <a:t>Diese Folie zeigt einen Vergleich zwischen der Berechnung mit der Basis 2005 (Hochschulpakt) und nach der Basis Durchschnitt 2000 bis 2004 (wie in AP77, was noch vor dem Hochschulpakt war). Grundidee ist, dass eine kapazitative Vollauslastung der Hochschulen mit diesem Durchschnitt besser wiedergegeben ist. Leider fehlen uns dafür noch Daten, die die Annahme besser untermauern.</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CE95077E-F009-EF41-9501-32930F19150D}"/>
              </a:ext>
            </a:extLst>
          </p:cNvPr>
          <p:cNvSpPr>
            <a:spLocks noGrp="1" noChangeArrowheads="1"/>
          </p:cNvSpPr>
          <p:nvPr>
            <p:ph type="sldNum" sz="quarter" idx="5"/>
          </p:nvPr>
        </p:nvSpPr>
        <p:spPr>
          <a:ln/>
        </p:spPr>
        <p:txBody>
          <a:bodyPr/>
          <a:lstStyle/>
          <a:p>
            <a:fld id="{E911BF57-A2CD-754D-A73B-71B20C1D6916}" type="slidenum">
              <a:rPr lang="de-DE" altLang="de-DE"/>
              <a:pPr/>
              <a:t>7</a:t>
            </a:fld>
            <a:endParaRPr lang="de-DE" altLang="de-DE"/>
          </a:p>
        </p:txBody>
      </p:sp>
      <p:sp>
        <p:nvSpPr>
          <p:cNvPr id="51202" name="Rectangle 2">
            <a:extLst>
              <a:ext uri="{FF2B5EF4-FFF2-40B4-BE49-F238E27FC236}">
                <a16:creationId xmlns:a16="http://schemas.microsoft.com/office/drawing/2014/main" id="{EAB3FE08-AD91-A549-9C0A-849B5C213F0F}"/>
              </a:ext>
            </a:extLst>
          </p:cNvPr>
          <p:cNvSpPr>
            <a:spLocks noRot="1" noChangeArrowheads="1" noTextEdit="1"/>
          </p:cNvSpPr>
          <p:nvPr>
            <p:ph type="sldImg"/>
          </p:nvPr>
        </p:nvSpPr>
        <p:spPr>
          <a:ln/>
        </p:spPr>
      </p:sp>
      <p:sp>
        <p:nvSpPr>
          <p:cNvPr id="51203" name="Rectangle 3">
            <a:extLst>
              <a:ext uri="{FF2B5EF4-FFF2-40B4-BE49-F238E27FC236}">
                <a16:creationId xmlns:a16="http://schemas.microsoft.com/office/drawing/2014/main" id="{FA60B637-1ADC-434F-8782-7A3415F87491}"/>
              </a:ext>
            </a:extLst>
          </p:cNvPr>
          <p:cNvSpPr>
            <a:spLocks noGrp="1" noChangeArrowheads="1"/>
          </p:cNvSpPr>
          <p:nvPr>
            <p:ph type="body" idx="1"/>
          </p:nvPr>
        </p:nvSpPr>
        <p:spPr/>
        <p:txBody>
          <a:bodyPr/>
          <a:lstStyle/>
          <a:p>
            <a:r>
              <a:rPr lang="de-DE" altLang="de-DE"/>
              <a:t>Hier nun die Prognose nach unserer Basis (2000-2004)</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90F9E327-27A0-2B46-ABC7-BB41AD5C46C9}"/>
              </a:ext>
            </a:extLst>
          </p:cNvPr>
          <p:cNvSpPr>
            <a:spLocks noGrp="1" noChangeArrowheads="1"/>
          </p:cNvSpPr>
          <p:nvPr>
            <p:ph type="sldNum" sz="quarter" idx="5"/>
          </p:nvPr>
        </p:nvSpPr>
        <p:spPr>
          <a:ln/>
        </p:spPr>
        <p:txBody>
          <a:bodyPr/>
          <a:lstStyle/>
          <a:p>
            <a:fld id="{53FC31C0-8EE1-8340-9EBC-C94F7ACC4324}" type="slidenum">
              <a:rPr lang="de-DE" altLang="de-DE"/>
              <a:pPr/>
              <a:t>8</a:t>
            </a:fld>
            <a:endParaRPr lang="de-DE" altLang="de-DE"/>
          </a:p>
        </p:txBody>
      </p:sp>
      <p:sp>
        <p:nvSpPr>
          <p:cNvPr id="76802" name="Rectangle 2">
            <a:extLst>
              <a:ext uri="{FF2B5EF4-FFF2-40B4-BE49-F238E27FC236}">
                <a16:creationId xmlns:a16="http://schemas.microsoft.com/office/drawing/2014/main" id="{2C7327FB-B018-D044-947F-9BD9568C86ED}"/>
              </a:ext>
            </a:extLst>
          </p:cNvPr>
          <p:cNvSpPr>
            <a:spLocks noRot="1" noChangeArrowheads="1" noTextEdit="1"/>
          </p:cNvSpPr>
          <p:nvPr>
            <p:ph type="sldImg"/>
          </p:nvPr>
        </p:nvSpPr>
        <p:spPr>
          <a:ln/>
        </p:spPr>
      </p:sp>
      <p:sp>
        <p:nvSpPr>
          <p:cNvPr id="76803" name="Rectangle 3">
            <a:extLst>
              <a:ext uri="{FF2B5EF4-FFF2-40B4-BE49-F238E27FC236}">
                <a16:creationId xmlns:a16="http://schemas.microsoft.com/office/drawing/2014/main" id="{64C7DC1D-04A8-B84B-9C09-82FC064873CB}"/>
              </a:ext>
            </a:extLst>
          </p:cNvPr>
          <p:cNvSpPr>
            <a:spLocks noGrp="1" noChangeArrowheads="1"/>
          </p:cNvSpPr>
          <p:nvPr>
            <p:ph type="body" idx="1"/>
          </p:nvPr>
        </p:nvSpPr>
        <p:spPr/>
        <p:txBody>
          <a:bodyPr/>
          <a:lstStyle/>
          <a:p>
            <a:r>
              <a:rPr lang="de-DE" altLang="de-DE"/>
              <a:t>Hier werden nun verschiedene Kostensimulationen gezeigt. Allein die unterschiedlichen Basen machen kurz 7,3 Milliarden Euro Unterschied, oder 520 Millionen Euro p.a. (im Schnitt), d.h. in etwa wie die Zuschüsse des Bundes zum Hochschulpakt. Nimmt man dann noch die Zahl, wie sie die HRK propagiert (7.300€ = laufende Ausgaben je Studierenden aus Statistik vom Statistischen Bundesamt; gerechnet auf vier Jahre Studiendauer), kommt man auf fast 20 Milliarden Mehrkosten von 2007 bis 2020. Grundidee hier ist wieder, dass ein Studium einen fixen Betrag kostet, eher unabhängig von der Studiendauer. Der Anschaulichkeit halber, wurden sie für die Graphik auf jeweils vier Jahre verteilt.</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C1F1FB55-99F5-F746-B398-9EA3468B9687}"/>
              </a:ext>
            </a:extLst>
          </p:cNvPr>
          <p:cNvSpPr>
            <a:spLocks noGrp="1" noChangeArrowheads="1"/>
          </p:cNvSpPr>
          <p:nvPr>
            <p:ph type="sldNum" sz="quarter" idx="5"/>
          </p:nvPr>
        </p:nvSpPr>
        <p:spPr>
          <a:ln/>
        </p:spPr>
        <p:txBody>
          <a:bodyPr/>
          <a:lstStyle/>
          <a:p>
            <a:fld id="{93414220-AB0A-4E4A-899E-C76C3741D3CE}" type="slidenum">
              <a:rPr lang="de-DE" altLang="de-DE"/>
              <a:pPr/>
              <a:t>9</a:t>
            </a:fld>
            <a:endParaRPr lang="de-DE" altLang="de-DE"/>
          </a:p>
        </p:txBody>
      </p:sp>
      <p:sp>
        <p:nvSpPr>
          <p:cNvPr id="72706" name="Rectangle 2">
            <a:extLst>
              <a:ext uri="{FF2B5EF4-FFF2-40B4-BE49-F238E27FC236}">
                <a16:creationId xmlns:a16="http://schemas.microsoft.com/office/drawing/2014/main" id="{2AD10988-ACAB-FA44-B8CF-AE425C35697D}"/>
              </a:ext>
            </a:extLst>
          </p:cNvPr>
          <p:cNvSpPr>
            <a:spLocks noRot="1" noChangeArrowheads="1" noTextEdit="1"/>
          </p:cNvSpPr>
          <p:nvPr>
            <p:ph type="sldImg"/>
          </p:nvPr>
        </p:nvSpPr>
        <p:spPr>
          <a:ln/>
        </p:spPr>
      </p:sp>
      <p:sp>
        <p:nvSpPr>
          <p:cNvPr id="72707" name="Rectangle 3">
            <a:extLst>
              <a:ext uri="{FF2B5EF4-FFF2-40B4-BE49-F238E27FC236}">
                <a16:creationId xmlns:a16="http://schemas.microsoft.com/office/drawing/2014/main" id="{FBD9D153-274D-B744-880D-5D4C75B73CBF}"/>
              </a:ext>
            </a:extLst>
          </p:cNvPr>
          <p:cNvSpPr>
            <a:spLocks noGrp="1" noChangeArrowheads="1"/>
          </p:cNvSpPr>
          <p:nvPr>
            <p:ph type="body" idx="1"/>
          </p:nvPr>
        </p:nvSpPr>
        <p:spPr/>
        <p:txBody>
          <a:bodyPr/>
          <a:lstStyle/>
          <a:p>
            <a:r>
              <a:rPr lang="de-DE" altLang="de-DE"/>
              <a:t>Als kleiner Vergleich der Beitrag des Bundes zum Hochschulpakt (bis 2010) ohne die Pauschalen für die Stadtstaaten und die neuen BL = 438 Mio. €</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3259" name="Picture 187">
            <a:extLst>
              <a:ext uri="{FF2B5EF4-FFF2-40B4-BE49-F238E27FC236}">
                <a16:creationId xmlns:a16="http://schemas.microsoft.com/office/drawing/2014/main" id="{E151A078-D2B1-D74D-B7D0-0D7D5E9900C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023938"/>
            <a:ext cx="4060825" cy="5834062"/>
          </a:xfrm>
          <a:prstGeom prst="rect">
            <a:avLst/>
          </a:prstGeom>
          <a:noFill/>
          <a:extLst>
            <a:ext uri="{909E8E84-426E-40DD-AFC4-6F175D3DCCD1}">
              <a14:hiddenFill xmlns:a14="http://schemas.microsoft.com/office/drawing/2010/main">
                <a:solidFill>
                  <a:srgbClr val="FFFFFF"/>
                </a:solidFill>
              </a14:hiddenFill>
            </a:ext>
          </a:extLst>
        </p:spPr>
      </p:pic>
      <p:sp>
        <p:nvSpPr>
          <p:cNvPr id="3074" name="Rectangle 2">
            <a:extLst>
              <a:ext uri="{FF2B5EF4-FFF2-40B4-BE49-F238E27FC236}">
                <a16:creationId xmlns:a16="http://schemas.microsoft.com/office/drawing/2014/main" id="{F2C79084-49A8-4F49-80C8-E44521F1C3E3}"/>
              </a:ext>
            </a:extLst>
          </p:cNvPr>
          <p:cNvSpPr>
            <a:spLocks noGrp="1" noChangeArrowheads="1"/>
          </p:cNvSpPr>
          <p:nvPr>
            <p:ph type="ctrTitle"/>
          </p:nvPr>
        </p:nvSpPr>
        <p:spPr>
          <a:xfrm>
            <a:off x="827088" y="2346325"/>
            <a:ext cx="7772400" cy="1470025"/>
          </a:xfrm>
        </p:spPr>
        <p:txBody>
          <a:bodyPr/>
          <a:lstStyle>
            <a:lvl1pPr algn="r">
              <a:defRPr sz="3200" b="1"/>
            </a:lvl1pPr>
          </a:lstStyle>
          <a:p>
            <a:pPr lvl="0"/>
            <a:r>
              <a:rPr lang="de-DE" altLang="de-DE" noProof="0"/>
              <a:t>Titelmasterformat durch Klicken bearbeiten</a:t>
            </a:r>
          </a:p>
        </p:txBody>
      </p:sp>
      <p:sp>
        <p:nvSpPr>
          <p:cNvPr id="3075" name="Rectangle 3">
            <a:extLst>
              <a:ext uri="{FF2B5EF4-FFF2-40B4-BE49-F238E27FC236}">
                <a16:creationId xmlns:a16="http://schemas.microsoft.com/office/drawing/2014/main" id="{CA262E1C-FB0B-8D41-BAD4-97E5C0C2F40E}"/>
              </a:ext>
            </a:extLst>
          </p:cNvPr>
          <p:cNvSpPr>
            <a:spLocks noGrp="1" noChangeArrowheads="1"/>
          </p:cNvSpPr>
          <p:nvPr>
            <p:ph type="subTitle" idx="1"/>
          </p:nvPr>
        </p:nvSpPr>
        <p:spPr>
          <a:xfrm>
            <a:off x="2200275" y="4102100"/>
            <a:ext cx="6400800" cy="1127125"/>
          </a:xfrm>
        </p:spPr>
        <p:txBody>
          <a:bodyPr/>
          <a:lstStyle>
            <a:lvl1pPr marL="0" indent="0" algn="r">
              <a:buFont typeface="Wingdings" pitchFamily="2" charset="2"/>
              <a:buNone/>
              <a:defRPr sz="2400"/>
            </a:lvl1pPr>
          </a:lstStyle>
          <a:p>
            <a:pPr lvl="0"/>
            <a:r>
              <a:rPr lang="de-DE" altLang="de-DE" noProof="0"/>
              <a:t>Formatvorlage des Untertitelmasters durch Klicken bearbeiten</a:t>
            </a:r>
          </a:p>
        </p:txBody>
      </p:sp>
      <p:sp>
        <p:nvSpPr>
          <p:cNvPr id="3076" name="Rectangle 4">
            <a:extLst>
              <a:ext uri="{FF2B5EF4-FFF2-40B4-BE49-F238E27FC236}">
                <a16:creationId xmlns:a16="http://schemas.microsoft.com/office/drawing/2014/main" id="{95CEFC5A-FFC0-7448-9A03-54975405B17C}"/>
              </a:ext>
            </a:extLst>
          </p:cNvPr>
          <p:cNvSpPr>
            <a:spLocks noGrp="1" noChangeArrowheads="1"/>
          </p:cNvSpPr>
          <p:nvPr>
            <p:ph type="dt" sz="half" idx="2"/>
          </p:nvPr>
        </p:nvSpPr>
        <p:spPr bwMode="auto">
          <a:xfrm>
            <a:off x="457200" y="6245225"/>
            <a:ext cx="2133600" cy="47625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endParaRPr lang="de-DE" altLang="de-DE"/>
          </a:p>
        </p:txBody>
      </p:sp>
      <p:sp>
        <p:nvSpPr>
          <p:cNvPr id="3077" name="Rectangle 5">
            <a:extLst>
              <a:ext uri="{FF2B5EF4-FFF2-40B4-BE49-F238E27FC236}">
                <a16:creationId xmlns:a16="http://schemas.microsoft.com/office/drawing/2014/main" id="{45C12730-7F1D-7E40-94CB-EB702F4CEF34}"/>
              </a:ext>
            </a:extLst>
          </p:cNvPr>
          <p:cNvSpPr>
            <a:spLocks noGrp="1" noChangeArrowheads="1"/>
          </p:cNvSpPr>
          <p:nvPr>
            <p:ph type="ftr" sz="quarter" idx="3"/>
          </p:nvPr>
        </p:nvSpPr>
        <p:spPr>
          <a:xfrm>
            <a:off x="3124200" y="6245225"/>
            <a:ext cx="2895600" cy="476250"/>
          </a:xfrm>
        </p:spPr>
        <p:txBody>
          <a:bodyPr/>
          <a:lstStyle>
            <a:lvl1pPr algn="ctr">
              <a:defRPr>
                <a:solidFill>
                  <a:schemeClr val="tx1"/>
                </a:solidFill>
              </a:defRPr>
            </a:lvl1pPr>
          </a:lstStyle>
          <a:p>
            <a:r>
              <a:rPr lang="de-DE" altLang="de-DE"/>
              <a:t>Studienanfängerhoch und Mobilität | Detlef Müller-Böling | 27.08.2007</a:t>
            </a:r>
          </a:p>
        </p:txBody>
      </p:sp>
      <p:sp>
        <p:nvSpPr>
          <p:cNvPr id="3078" name="Rectangle 6">
            <a:extLst>
              <a:ext uri="{FF2B5EF4-FFF2-40B4-BE49-F238E27FC236}">
                <a16:creationId xmlns:a16="http://schemas.microsoft.com/office/drawing/2014/main" id="{1D936507-E447-DE49-B01C-89459AF5F9D9}"/>
              </a:ext>
            </a:extLst>
          </p:cNvPr>
          <p:cNvSpPr>
            <a:spLocks noGrp="1" noChangeArrowheads="1"/>
          </p:cNvSpPr>
          <p:nvPr>
            <p:ph type="sldNum" sz="quarter" idx="4"/>
          </p:nvPr>
        </p:nvSpPr>
        <p:spPr>
          <a:xfrm>
            <a:off x="6553200" y="6245225"/>
            <a:ext cx="2133600" cy="476250"/>
          </a:xfrm>
        </p:spPr>
        <p:txBody>
          <a:bodyPr/>
          <a:lstStyle>
            <a:lvl1pPr>
              <a:defRPr>
                <a:solidFill>
                  <a:schemeClr val="tx1"/>
                </a:solidFill>
              </a:defRPr>
            </a:lvl1pPr>
          </a:lstStyle>
          <a:p>
            <a:fld id="{69B86320-3BDE-C740-9C91-BB56B638C875}" type="slidenum">
              <a:rPr lang="de-DE" altLang="de-DE"/>
              <a:pPr/>
              <a:t>‹Nr.›</a:t>
            </a:fld>
            <a:endParaRPr lang="de-DE" altLang="de-DE"/>
          </a:p>
        </p:txBody>
      </p:sp>
      <p:sp>
        <p:nvSpPr>
          <p:cNvPr id="3253" name="Rectangle 181">
            <a:extLst>
              <a:ext uri="{FF2B5EF4-FFF2-40B4-BE49-F238E27FC236}">
                <a16:creationId xmlns:a16="http://schemas.microsoft.com/office/drawing/2014/main" id="{E3E93659-75D4-A749-9902-4F432D8A7099}"/>
              </a:ext>
            </a:extLst>
          </p:cNvPr>
          <p:cNvSpPr>
            <a:spLocks noChangeArrowheads="1"/>
          </p:cNvSpPr>
          <p:nvPr userDrawn="1"/>
        </p:nvSpPr>
        <p:spPr bwMode="auto">
          <a:xfrm>
            <a:off x="0" y="0"/>
            <a:ext cx="9144000" cy="1196975"/>
          </a:xfrm>
          <a:prstGeom prst="rect">
            <a:avLst/>
          </a:prstGeom>
          <a:solidFill>
            <a:srgbClr val="E9E9E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3258" name="Text Box 186">
            <a:extLst>
              <a:ext uri="{FF2B5EF4-FFF2-40B4-BE49-F238E27FC236}">
                <a16:creationId xmlns:a16="http://schemas.microsoft.com/office/drawing/2014/main" id="{B4A46EA2-0A83-BF4F-9997-01BEB8F956C1}"/>
              </a:ext>
            </a:extLst>
          </p:cNvPr>
          <p:cNvSpPr txBox="1">
            <a:spLocks noChangeArrowheads="1"/>
          </p:cNvSpPr>
          <p:nvPr userDrawn="1"/>
        </p:nvSpPr>
        <p:spPr bwMode="auto">
          <a:xfrm>
            <a:off x="323850" y="6092825"/>
            <a:ext cx="151288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de-DE" altLang="de-DE" b="1">
                <a:solidFill>
                  <a:schemeClr val="bg1"/>
                </a:solidFill>
              </a:rPr>
              <a:t>www.che.de</a:t>
            </a:r>
          </a:p>
        </p:txBody>
      </p:sp>
      <p:pic>
        <p:nvPicPr>
          <p:cNvPr id="3260" name="Picture 188">
            <a:extLst>
              <a:ext uri="{FF2B5EF4-FFF2-40B4-BE49-F238E27FC236}">
                <a16:creationId xmlns:a16="http://schemas.microsoft.com/office/drawing/2014/main" id="{E2D99441-26C2-3F4F-B1FF-9595944B374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469063" y="115888"/>
            <a:ext cx="2206625" cy="142081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6B53FB-3843-0B4B-A0F6-41A22DA3B786}"/>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E86CB941-2D36-B641-BAEF-7C2A74DFE354}"/>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7BA31783-F6BF-AA41-A044-E53E6BF3AD66}"/>
              </a:ext>
            </a:extLst>
          </p:cNvPr>
          <p:cNvSpPr>
            <a:spLocks noGrp="1"/>
          </p:cNvSpPr>
          <p:nvPr>
            <p:ph type="ftr" sz="quarter" idx="10"/>
          </p:nvPr>
        </p:nvSpPr>
        <p:spPr/>
        <p:txBody>
          <a:bodyPr/>
          <a:lstStyle>
            <a:lvl1pPr>
              <a:defRPr/>
            </a:lvl1pPr>
          </a:lstStyle>
          <a:p>
            <a:r>
              <a:rPr lang="de-DE" altLang="de-DE"/>
              <a:t>Studienanfängerhoch und Mobilität | Detlef Müller-Böling | 27.08.2007</a:t>
            </a:r>
          </a:p>
        </p:txBody>
      </p:sp>
      <p:sp>
        <p:nvSpPr>
          <p:cNvPr id="5" name="Foliennummernplatzhalter 4">
            <a:extLst>
              <a:ext uri="{FF2B5EF4-FFF2-40B4-BE49-F238E27FC236}">
                <a16:creationId xmlns:a16="http://schemas.microsoft.com/office/drawing/2014/main" id="{0003C369-4E34-174B-B9A9-6C1B97769AD1}"/>
              </a:ext>
            </a:extLst>
          </p:cNvPr>
          <p:cNvSpPr>
            <a:spLocks noGrp="1"/>
          </p:cNvSpPr>
          <p:nvPr>
            <p:ph type="sldNum" sz="quarter" idx="11"/>
          </p:nvPr>
        </p:nvSpPr>
        <p:spPr/>
        <p:txBody>
          <a:bodyPr/>
          <a:lstStyle>
            <a:lvl1pPr>
              <a:defRPr/>
            </a:lvl1pPr>
          </a:lstStyle>
          <a:p>
            <a:fld id="{DA9CCA63-1087-B244-AE0C-BA4224005221}" type="slidenum">
              <a:rPr lang="de-DE" altLang="de-DE"/>
              <a:pPr/>
              <a:t>‹Nr.›</a:t>
            </a:fld>
            <a:endParaRPr lang="de-DE" altLang="de-DE"/>
          </a:p>
        </p:txBody>
      </p:sp>
    </p:spTree>
    <p:extLst>
      <p:ext uri="{BB962C8B-B14F-4D97-AF65-F5344CB8AC3E}">
        <p14:creationId xmlns:p14="http://schemas.microsoft.com/office/powerpoint/2010/main" val="27149342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7E0EB901-E3E0-FA43-B02B-4EC7244E2606}"/>
              </a:ext>
            </a:extLst>
          </p:cNvPr>
          <p:cNvSpPr>
            <a:spLocks noGrp="1"/>
          </p:cNvSpPr>
          <p:nvPr>
            <p:ph type="title" orient="vert"/>
          </p:nvPr>
        </p:nvSpPr>
        <p:spPr>
          <a:xfrm>
            <a:off x="6596063" y="44450"/>
            <a:ext cx="2090737" cy="6121400"/>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B51357E5-EDAF-024D-BFB8-647DF8985B69}"/>
              </a:ext>
            </a:extLst>
          </p:cNvPr>
          <p:cNvSpPr>
            <a:spLocks noGrp="1"/>
          </p:cNvSpPr>
          <p:nvPr>
            <p:ph type="body" orient="vert" idx="1"/>
          </p:nvPr>
        </p:nvSpPr>
        <p:spPr>
          <a:xfrm>
            <a:off x="322263" y="44450"/>
            <a:ext cx="6121400" cy="6121400"/>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7ABCF28D-0B12-594B-8BE5-01FA105DB6AC}"/>
              </a:ext>
            </a:extLst>
          </p:cNvPr>
          <p:cNvSpPr>
            <a:spLocks noGrp="1"/>
          </p:cNvSpPr>
          <p:nvPr>
            <p:ph type="ftr" sz="quarter" idx="10"/>
          </p:nvPr>
        </p:nvSpPr>
        <p:spPr/>
        <p:txBody>
          <a:bodyPr/>
          <a:lstStyle>
            <a:lvl1pPr>
              <a:defRPr/>
            </a:lvl1pPr>
          </a:lstStyle>
          <a:p>
            <a:r>
              <a:rPr lang="de-DE" altLang="de-DE"/>
              <a:t>Studienanfängerhoch und Mobilität | Detlef Müller-Böling | 27.08.2007</a:t>
            </a:r>
          </a:p>
        </p:txBody>
      </p:sp>
      <p:sp>
        <p:nvSpPr>
          <p:cNvPr id="5" name="Foliennummernplatzhalter 4">
            <a:extLst>
              <a:ext uri="{FF2B5EF4-FFF2-40B4-BE49-F238E27FC236}">
                <a16:creationId xmlns:a16="http://schemas.microsoft.com/office/drawing/2014/main" id="{5422376D-748C-7440-B9A2-2C61569AC83B}"/>
              </a:ext>
            </a:extLst>
          </p:cNvPr>
          <p:cNvSpPr>
            <a:spLocks noGrp="1"/>
          </p:cNvSpPr>
          <p:nvPr>
            <p:ph type="sldNum" sz="quarter" idx="11"/>
          </p:nvPr>
        </p:nvSpPr>
        <p:spPr/>
        <p:txBody>
          <a:bodyPr/>
          <a:lstStyle>
            <a:lvl1pPr>
              <a:defRPr/>
            </a:lvl1pPr>
          </a:lstStyle>
          <a:p>
            <a:fld id="{AFBB162F-9190-514F-87A6-1BAADBBAEF49}" type="slidenum">
              <a:rPr lang="de-DE" altLang="de-DE"/>
              <a:pPr/>
              <a:t>‹Nr.›</a:t>
            </a:fld>
            <a:endParaRPr lang="de-DE" altLang="de-DE"/>
          </a:p>
        </p:txBody>
      </p:sp>
    </p:spTree>
    <p:extLst>
      <p:ext uri="{BB962C8B-B14F-4D97-AF65-F5344CB8AC3E}">
        <p14:creationId xmlns:p14="http://schemas.microsoft.com/office/powerpoint/2010/main" val="698010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228058-F5AB-4A47-A8DF-F26ECDD7CEA7}"/>
              </a:ext>
            </a:extLst>
          </p:cNvPr>
          <p:cNvSpPr>
            <a:spLocks noGrp="1"/>
          </p:cNvSpPr>
          <p:nvPr>
            <p:ph type="title"/>
          </p:nvPr>
        </p:nvSpPr>
        <p:spPr>
          <a:xfrm>
            <a:off x="322263" y="44450"/>
            <a:ext cx="6697662" cy="720725"/>
          </a:xfrm>
        </p:spPr>
        <p:txBody>
          <a:bodyPr/>
          <a:lstStyle/>
          <a:p>
            <a:r>
              <a:rPr lang="de-DE"/>
              <a:t>Mastertitelformat bearbeiten</a:t>
            </a:r>
          </a:p>
        </p:txBody>
      </p:sp>
      <p:sp>
        <p:nvSpPr>
          <p:cNvPr id="3" name="Diagrammplatzhalter 2">
            <a:extLst>
              <a:ext uri="{FF2B5EF4-FFF2-40B4-BE49-F238E27FC236}">
                <a16:creationId xmlns:a16="http://schemas.microsoft.com/office/drawing/2014/main" id="{F9599744-2A29-7546-8322-54325B8FB6C0}"/>
              </a:ext>
            </a:extLst>
          </p:cNvPr>
          <p:cNvSpPr>
            <a:spLocks noGrp="1"/>
          </p:cNvSpPr>
          <p:nvPr>
            <p:ph type="chart" idx="1"/>
          </p:nvPr>
        </p:nvSpPr>
        <p:spPr>
          <a:xfrm>
            <a:off x="457200" y="1639888"/>
            <a:ext cx="8229600" cy="4525962"/>
          </a:xfrm>
        </p:spPr>
        <p:txBody>
          <a:bodyPr/>
          <a:lstStyle/>
          <a:p>
            <a:endParaRPr lang="de-DE"/>
          </a:p>
        </p:txBody>
      </p:sp>
      <p:sp>
        <p:nvSpPr>
          <p:cNvPr id="4" name="Fußzeilenplatzhalter 3">
            <a:extLst>
              <a:ext uri="{FF2B5EF4-FFF2-40B4-BE49-F238E27FC236}">
                <a16:creationId xmlns:a16="http://schemas.microsoft.com/office/drawing/2014/main" id="{ACE58170-F402-BC4F-8E11-9E31AA5D5B5C}"/>
              </a:ext>
            </a:extLst>
          </p:cNvPr>
          <p:cNvSpPr>
            <a:spLocks noGrp="1"/>
          </p:cNvSpPr>
          <p:nvPr>
            <p:ph type="ftr" sz="quarter" idx="10"/>
          </p:nvPr>
        </p:nvSpPr>
        <p:spPr>
          <a:xfrm>
            <a:off x="179388" y="6524625"/>
            <a:ext cx="6264275" cy="476250"/>
          </a:xfrm>
        </p:spPr>
        <p:txBody>
          <a:bodyPr/>
          <a:lstStyle>
            <a:lvl1pPr>
              <a:defRPr/>
            </a:lvl1pPr>
          </a:lstStyle>
          <a:p>
            <a:r>
              <a:rPr lang="de-DE" altLang="de-DE"/>
              <a:t>Studienanfängerhoch und Mobilität | Detlef Müller-Böling | 27.08.2007</a:t>
            </a:r>
          </a:p>
        </p:txBody>
      </p:sp>
      <p:sp>
        <p:nvSpPr>
          <p:cNvPr id="5" name="Foliennummernplatzhalter 4">
            <a:extLst>
              <a:ext uri="{FF2B5EF4-FFF2-40B4-BE49-F238E27FC236}">
                <a16:creationId xmlns:a16="http://schemas.microsoft.com/office/drawing/2014/main" id="{EDD222C4-AA8B-3F4D-917C-CFFDB1105F3B}"/>
              </a:ext>
            </a:extLst>
          </p:cNvPr>
          <p:cNvSpPr>
            <a:spLocks noGrp="1"/>
          </p:cNvSpPr>
          <p:nvPr>
            <p:ph type="sldNum" sz="quarter" idx="11"/>
          </p:nvPr>
        </p:nvSpPr>
        <p:spPr>
          <a:xfrm>
            <a:off x="6831013" y="6553200"/>
            <a:ext cx="2133600" cy="476250"/>
          </a:xfrm>
        </p:spPr>
        <p:txBody>
          <a:bodyPr/>
          <a:lstStyle>
            <a:lvl1pPr>
              <a:defRPr/>
            </a:lvl1pPr>
          </a:lstStyle>
          <a:p>
            <a:fld id="{0F66B728-900F-AE49-A878-CBFE2FEE5311}" type="slidenum">
              <a:rPr lang="de-DE" altLang="de-DE"/>
              <a:pPr/>
              <a:t>‹Nr.›</a:t>
            </a:fld>
            <a:endParaRPr lang="de-DE" altLang="de-DE"/>
          </a:p>
        </p:txBody>
      </p:sp>
    </p:spTree>
    <p:extLst>
      <p:ext uri="{BB962C8B-B14F-4D97-AF65-F5344CB8AC3E}">
        <p14:creationId xmlns:p14="http://schemas.microsoft.com/office/powerpoint/2010/main" val="36385611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A9F547-F701-DC40-9E26-59A0A698C2B6}"/>
              </a:ext>
            </a:extLst>
          </p:cNvPr>
          <p:cNvSpPr>
            <a:spLocks noGrp="1"/>
          </p:cNvSpPr>
          <p:nvPr>
            <p:ph type="title"/>
          </p:nvPr>
        </p:nvSpPr>
        <p:spPr>
          <a:xfrm>
            <a:off x="322263" y="44450"/>
            <a:ext cx="6697662" cy="720725"/>
          </a:xfrm>
        </p:spPr>
        <p:txBody>
          <a:bodyPr/>
          <a:lstStyle/>
          <a:p>
            <a:r>
              <a:rPr lang="de-DE"/>
              <a:t>Mastertitelformat bearbeiten</a:t>
            </a:r>
          </a:p>
        </p:txBody>
      </p:sp>
      <p:sp>
        <p:nvSpPr>
          <p:cNvPr id="3" name="Textplatzhalter 2">
            <a:extLst>
              <a:ext uri="{FF2B5EF4-FFF2-40B4-BE49-F238E27FC236}">
                <a16:creationId xmlns:a16="http://schemas.microsoft.com/office/drawing/2014/main" id="{000B4D8A-5191-3F4C-B2EE-96C00BC5218C}"/>
              </a:ext>
            </a:extLst>
          </p:cNvPr>
          <p:cNvSpPr>
            <a:spLocks noGrp="1"/>
          </p:cNvSpPr>
          <p:nvPr>
            <p:ph type="body" sz="half" idx="1"/>
          </p:nvPr>
        </p:nvSpPr>
        <p:spPr>
          <a:xfrm>
            <a:off x="457200" y="1639888"/>
            <a:ext cx="4038600" cy="45259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F5D2C152-3174-3643-988E-563106122029}"/>
              </a:ext>
            </a:extLst>
          </p:cNvPr>
          <p:cNvSpPr>
            <a:spLocks noGrp="1"/>
          </p:cNvSpPr>
          <p:nvPr>
            <p:ph sz="half" idx="2"/>
          </p:nvPr>
        </p:nvSpPr>
        <p:spPr>
          <a:xfrm>
            <a:off x="4648200" y="1639888"/>
            <a:ext cx="4038600" cy="45259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E4CB69A7-7B96-434A-A12B-8FEB89D53A68}"/>
              </a:ext>
            </a:extLst>
          </p:cNvPr>
          <p:cNvSpPr>
            <a:spLocks noGrp="1"/>
          </p:cNvSpPr>
          <p:nvPr>
            <p:ph type="ftr" sz="quarter" idx="10"/>
          </p:nvPr>
        </p:nvSpPr>
        <p:spPr>
          <a:xfrm>
            <a:off x="179388" y="6524625"/>
            <a:ext cx="6264275" cy="476250"/>
          </a:xfrm>
        </p:spPr>
        <p:txBody>
          <a:bodyPr/>
          <a:lstStyle>
            <a:lvl1pPr>
              <a:defRPr/>
            </a:lvl1pPr>
          </a:lstStyle>
          <a:p>
            <a:r>
              <a:rPr lang="de-DE" altLang="de-DE"/>
              <a:t>Studienanfängerhoch und Mobilität | Detlef Müller-Böling | 27.08.2007</a:t>
            </a:r>
          </a:p>
        </p:txBody>
      </p:sp>
      <p:sp>
        <p:nvSpPr>
          <p:cNvPr id="6" name="Foliennummernplatzhalter 5">
            <a:extLst>
              <a:ext uri="{FF2B5EF4-FFF2-40B4-BE49-F238E27FC236}">
                <a16:creationId xmlns:a16="http://schemas.microsoft.com/office/drawing/2014/main" id="{08BFDC57-3195-1D45-A761-D83A60FEE617}"/>
              </a:ext>
            </a:extLst>
          </p:cNvPr>
          <p:cNvSpPr>
            <a:spLocks noGrp="1"/>
          </p:cNvSpPr>
          <p:nvPr>
            <p:ph type="sldNum" sz="quarter" idx="11"/>
          </p:nvPr>
        </p:nvSpPr>
        <p:spPr>
          <a:xfrm>
            <a:off x="6831013" y="6553200"/>
            <a:ext cx="2133600" cy="476250"/>
          </a:xfrm>
        </p:spPr>
        <p:txBody>
          <a:bodyPr/>
          <a:lstStyle>
            <a:lvl1pPr>
              <a:defRPr/>
            </a:lvl1pPr>
          </a:lstStyle>
          <a:p>
            <a:fld id="{4962F26F-0127-6D46-8829-185A9EF96AB1}" type="slidenum">
              <a:rPr lang="de-DE" altLang="de-DE"/>
              <a:pPr/>
              <a:t>‹Nr.›</a:t>
            </a:fld>
            <a:endParaRPr lang="de-DE" altLang="de-DE"/>
          </a:p>
        </p:txBody>
      </p:sp>
    </p:spTree>
    <p:extLst>
      <p:ext uri="{BB962C8B-B14F-4D97-AF65-F5344CB8AC3E}">
        <p14:creationId xmlns:p14="http://schemas.microsoft.com/office/powerpoint/2010/main" val="15680142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C05329-8C27-7E4E-A464-57BE9E9D0DB7}"/>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AAB20BC7-6F8E-FF47-A5E7-BDFE170FF4D0}"/>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AF6ECE1A-4489-234B-A07C-98166F6990EC}"/>
              </a:ext>
            </a:extLst>
          </p:cNvPr>
          <p:cNvSpPr>
            <a:spLocks noGrp="1"/>
          </p:cNvSpPr>
          <p:nvPr>
            <p:ph type="ftr" sz="quarter" idx="10"/>
          </p:nvPr>
        </p:nvSpPr>
        <p:spPr/>
        <p:txBody>
          <a:bodyPr/>
          <a:lstStyle>
            <a:lvl1pPr>
              <a:defRPr/>
            </a:lvl1pPr>
          </a:lstStyle>
          <a:p>
            <a:r>
              <a:rPr lang="de-DE" altLang="de-DE"/>
              <a:t>Studienanfängerhoch und Mobilität | Detlef Müller-Böling | 27.08.2007</a:t>
            </a:r>
          </a:p>
        </p:txBody>
      </p:sp>
      <p:sp>
        <p:nvSpPr>
          <p:cNvPr id="5" name="Foliennummernplatzhalter 4">
            <a:extLst>
              <a:ext uri="{FF2B5EF4-FFF2-40B4-BE49-F238E27FC236}">
                <a16:creationId xmlns:a16="http://schemas.microsoft.com/office/drawing/2014/main" id="{2D5D4896-F92E-AC46-91F3-6373327F0765}"/>
              </a:ext>
            </a:extLst>
          </p:cNvPr>
          <p:cNvSpPr>
            <a:spLocks noGrp="1"/>
          </p:cNvSpPr>
          <p:nvPr>
            <p:ph type="sldNum" sz="quarter" idx="11"/>
          </p:nvPr>
        </p:nvSpPr>
        <p:spPr/>
        <p:txBody>
          <a:bodyPr/>
          <a:lstStyle>
            <a:lvl1pPr>
              <a:defRPr/>
            </a:lvl1pPr>
          </a:lstStyle>
          <a:p>
            <a:fld id="{B1239E0A-F520-FA4E-8DAE-15441FB22C4B}" type="slidenum">
              <a:rPr lang="de-DE" altLang="de-DE"/>
              <a:pPr/>
              <a:t>‹Nr.›</a:t>
            </a:fld>
            <a:endParaRPr lang="de-DE" altLang="de-DE"/>
          </a:p>
        </p:txBody>
      </p:sp>
    </p:spTree>
    <p:extLst>
      <p:ext uri="{BB962C8B-B14F-4D97-AF65-F5344CB8AC3E}">
        <p14:creationId xmlns:p14="http://schemas.microsoft.com/office/powerpoint/2010/main" val="12209110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236F28-9374-AD41-A531-687ECB96E74E}"/>
              </a:ext>
            </a:extLst>
          </p:cNvPr>
          <p:cNvSpPr>
            <a:spLocks noGrp="1"/>
          </p:cNvSpPr>
          <p:nvPr>
            <p:ph type="title"/>
          </p:nvPr>
        </p:nvSpPr>
        <p:spPr>
          <a:xfrm>
            <a:off x="623888" y="1709738"/>
            <a:ext cx="78867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2B3DB1E2-D2EA-C049-9515-BEC7B3559625}"/>
              </a:ext>
            </a:extLst>
          </p:cNvPr>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de-DE"/>
              <a:t>Mastertextformat bearbeiten</a:t>
            </a:r>
          </a:p>
        </p:txBody>
      </p:sp>
      <p:sp>
        <p:nvSpPr>
          <p:cNvPr id="4" name="Fußzeilenplatzhalter 3">
            <a:extLst>
              <a:ext uri="{FF2B5EF4-FFF2-40B4-BE49-F238E27FC236}">
                <a16:creationId xmlns:a16="http://schemas.microsoft.com/office/drawing/2014/main" id="{DECC6167-EAD1-9C40-BFA6-3BECB26D8357}"/>
              </a:ext>
            </a:extLst>
          </p:cNvPr>
          <p:cNvSpPr>
            <a:spLocks noGrp="1"/>
          </p:cNvSpPr>
          <p:nvPr>
            <p:ph type="ftr" sz="quarter" idx="10"/>
          </p:nvPr>
        </p:nvSpPr>
        <p:spPr/>
        <p:txBody>
          <a:bodyPr/>
          <a:lstStyle>
            <a:lvl1pPr>
              <a:defRPr/>
            </a:lvl1pPr>
          </a:lstStyle>
          <a:p>
            <a:r>
              <a:rPr lang="de-DE" altLang="de-DE"/>
              <a:t>Studienanfängerhoch und Mobilität | Detlef Müller-Böling | 27.08.2007</a:t>
            </a:r>
          </a:p>
        </p:txBody>
      </p:sp>
      <p:sp>
        <p:nvSpPr>
          <p:cNvPr id="5" name="Foliennummernplatzhalter 4">
            <a:extLst>
              <a:ext uri="{FF2B5EF4-FFF2-40B4-BE49-F238E27FC236}">
                <a16:creationId xmlns:a16="http://schemas.microsoft.com/office/drawing/2014/main" id="{558418DC-D755-204F-B909-50721561C980}"/>
              </a:ext>
            </a:extLst>
          </p:cNvPr>
          <p:cNvSpPr>
            <a:spLocks noGrp="1"/>
          </p:cNvSpPr>
          <p:nvPr>
            <p:ph type="sldNum" sz="quarter" idx="11"/>
          </p:nvPr>
        </p:nvSpPr>
        <p:spPr/>
        <p:txBody>
          <a:bodyPr/>
          <a:lstStyle>
            <a:lvl1pPr>
              <a:defRPr/>
            </a:lvl1pPr>
          </a:lstStyle>
          <a:p>
            <a:fld id="{0778D79F-435A-CA48-924F-9B4A5659F78D}" type="slidenum">
              <a:rPr lang="de-DE" altLang="de-DE"/>
              <a:pPr/>
              <a:t>‹Nr.›</a:t>
            </a:fld>
            <a:endParaRPr lang="de-DE" altLang="de-DE"/>
          </a:p>
        </p:txBody>
      </p:sp>
    </p:spTree>
    <p:extLst>
      <p:ext uri="{BB962C8B-B14F-4D97-AF65-F5344CB8AC3E}">
        <p14:creationId xmlns:p14="http://schemas.microsoft.com/office/powerpoint/2010/main" val="317692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A86F75-25E5-2B4D-8C69-B535289DEAF1}"/>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7783EE7-1EAC-4F4C-8DCC-C472999646F7}"/>
              </a:ext>
            </a:extLst>
          </p:cNvPr>
          <p:cNvSpPr>
            <a:spLocks noGrp="1"/>
          </p:cNvSpPr>
          <p:nvPr>
            <p:ph sz="half" idx="1"/>
          </p:nvPr>
        </p:nvSpPr>
        <p:spPr>
          <a:xfrm>
            <a:off x="457200" y="1639888"/>
            <a:ext cx="4038600" cy="45259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10460DE2-53DD-BC41-B356-F15E60B64BC0}"/>
              </a:ext>
            </a:extLst>
          </p:cNvPr>
          <p:cNvSpPr>
            <a:spLocks noGrp="1"/>
          </p:cNvSpPr>
          <p:nvPr>
            <p:ph sz="half" idx="2"/>
          </p:nvPr>
        </p:nvSpPr>
        <p:spPr>
          <a:xfrm>
            <a:off x="4648200" y="1639888"/>
            <a:ext cx="4038600" cy="45259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22B5635A-03FB-BF49-B37D-2DF0A0203C4C}"/>
              </a:ext>
            </a:extLst>
          </p:cNvPr>
          <p:cNvSpPr>
            <a:spLocks noGrp="1"/>
          </p:cNvSpPr>
          <p:nvPr>
            <p:ph type="ftr" sz="quarter" idx="10"/>
          </p:nvPr>
        </p:nvSpPr>
        <p:spPr/>
        <p:txBody>
          <a:bodyPr/>
          <a:lstStyle>
            <a:lvl1pPr>
              <a:defRPr/>
            </a:lvl1pPr>
          </a:lstStyle>
          <a:p>
            <a:r>
              <a:rPr lang="de-DE" altLang="de-DE"/>
              <a:t>Studienanfängerhoch und Mobilität | Detlef Müller-Böling | 27.08.2007</a:t>
            </a:r>
          </a:p>
        </p:txBody>
      </p:sp>
      <p:sp>
        <p:nvSpPr>
          <p:cNvPr id="6" name="Foliennummernplatzhalter 5">
            <a:extLst>
              <a:ext uri="{FF2B5EF4-FFF2-40B4-BE49-F238E27FC236}">
                <a16:creationId xmlns:a16="http://schemas.microsoft.com/office/drawing/2014/main" id="{B812B317-2B01-9447-BED2-B22C0EE6575C}"/>
              </a:ext>
            </a:extLst>
          </p:cNvPr>
          <p:cNvSpPr>
            <a:spLocks noGrp="1"/>
          </p:cNvSpPr>
          <p:nvPr>
            <p:ph type="sldNum" sz="quarter" idx="11"/>
          </p:nvPr>
        </p:nvSpPr>
        <p:spPr/>
        <p:txBody>
          <a:bodyPr/>
          <a:lstStyle>
            <a:lvl1pPr>
              <a:defRPr/>
            </a:lvl1pPr>
          </a:lstStyle>
          <a:p>
            <a:fld id="{1F2F0203-3219-FA4E-82D2-1E9F0B51C1E0}" type="slidenum">
              <a:rPr lang="de-DE" altLang="de-DE"/>
              <a:pPr/>
              <a:t>‹Nr.›</a:t>
            </a:fld>
            <a:endParaRPr lang="de-DE" altLang="de-DE"/>
          </a:p>
        </p:txBody>
      </p:sp>
    </p:spTree>
    <p:extLst>
      <p:ext uri="{BB962C8B-B14F-4D97-AF65-F5344CB8AC3E}">
        <p14:creationId xmlns:p14="http://schemas.microsoft.com/office/powerpoint/2010/main" val="3809986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68C08A-0015-E542-B95F-3B1D4E90F007}"/>
              </a:ext>
            </a:extLst>
          </p:cNvPr>
          <p:cNvSpPr>
            <a:spLocks noGrp="1"/>
          </p:cNvSpPr>
          <p:nvPr>
            <p:ph type="title"/>
          </p:nvPr>
        </p:nvSpPr>
        <p:spPr>
          <a:xfrm>
            <a:off x="630238" y="365125"/>
            <a:ext cx="78867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EBDA9BA-02CD-C24C-91FB-459240970A04}"/>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898338B4-8B2A-3D42-9CA5-D1BB24316539}"/>
              </a:ext>
            </a:extLst>
          </p:cNvPr>
          <p:cNvSpPr>
            <a:spLocks noGrp="1"/>
          </p:cNvSpPr>
          <p:nvPr>
            <p:ph sz="half" idx="2"/>
          </p:nvPr>
        </p:nvSpPr>
        <p:spPr>
          <a:xfrm>
            <a:off x="630238" y="2505075"/>
            <a:ext cx="386873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DC474E70-7A0B-4747-8931-F64C59DD426B}"/>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7BB75176-7BAA-E14D-826C-A5A52446B27F}"/>
              </a:ext>
            </a:extLst>
          </p:cNvPr>
          <p:cNvSpPr>
            <a:spLocks noGrp="1"/>
          </p:cNvSpPr>
          <p:nvPr>
            <p:ph sz="quarter" idx="4"/>
          </p:nvPr>
        </p:nvSpPr>
        <p:spPr>
          <a:xfrm>
            <a:off x="4629150" y="2505075"/>
            <a:ext cx="38877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a:extLst>
              <a:ext uri="{FF2B5EF4-FFF2-40B4-BE49-F238E27FC236}">
                <a16:creationId xmlns:a16="http://schemas.microsoft.com/office/drawing/2014/main" id="{B0CFFDF3-2CF6-EC4D-A25A-62C26F7EB5B8}"/>
              </a:ext>
            </a:extLst>
          </p:cNvPr>
          <p:cNvSpPr>
            <a:spLocks noGrp="1"/>
          </p:cNvSpPr>
          <p:nvPr>
            <p:ph type="ftr" sz="quarter" idx="10"/>
          </p:nvPr>
        </p:nvSpPr>
        <p:spPr/>
        <p:txBody>
          <a:bodyPr/>
          <a:lstStyle>
            <a:lvl1pPr>
              <a:defRPr/>
            </a:lvl1pPr>
          </a:lstStyle>
          <a:p>
            <a:r>
              <a:rPr lang="de-DE" altLang="de-DE"/>
              <a:t>Studienanfängerhoch und Mobilität | Detlef Müller-Böling | 27.08.2007</a:t>
            </a:r>
          </a:p>
        </p:txBody>
      </p:sp>
      <p:sp>
        <p:nvSpPr>
          <p:cNvPr id="8" name="Foliennummernplatzhalter 7">
            <a:extLst>
              <a:ext uri="{FF2B5EF4-FFF2-40B4-BE49-F238E27FC236}">
                <a16:creationId xmlns:a16="http://schemas.microsoft.com/office/drawing/2014/main" id="{3078B7D6-8B15-1F4B-B408-2891A9AFC3FB}"/>
              </a:ext>
            </a:extLst>
          </p:cNvPr>
          <p:cNvSpPr>
            <a:spLocks noGrp="1"/>
          </p:cNvSpPr>
          <p:nvPr>
            <p:ph type="sldNum" sz="quarter" idx="11"/>
          </p:nvPr>
        </p:nvSpPr>
        <p:spPr/>
        <p:txBody>
          <a:bodyPr/>
          <a:lstStyle>
            <a:lvl1pPr>
              <a:defRPr/>
            </a:lvl1pPr>
          </a:lstStyle>
          <a:p>
            <a:fld id="{5B83B818-6181-EA46-BB7C-7E37BD8032C1}" type="slidenum">
              <a:rPr lang="de-DE" altLang="de-DE"/>
              <a:pPr/>
              <a:t>‹Nr.›</a:t>
            </a:fld>
            <a:endParaRPr lang="de-DE" altLang="de-DE"/>
          </a:p>
        </p:txBody>
      </p:sp>
    </p:spTree>
    <p:extLst>
      <p:ext uri="{BB962C8B-B14F-4D97-AF65-F5344CB8AC3E}">
        <p14:creationId xmlns:p14="http://schemas.microsoft.com/office/powerpoint/2010/main" val="5029935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A0372F-4109-E542-92CD-977654DC4FD8}"/>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4FD3490D-C948-8645-8A47-22146E927528}"/>
              </a:ext>
            </a:extLst>
          </p:cNvPr>
          <p:cNvSpPr>
            <a:spLocks noGrp="1"/>
          </p:cNvSpPr>
          <p:nvPr>
            <p:ph type="ftr" sz="quarter" idx="10"/>
          </p:nvPr>
        </p:nvSpPr>
        <p:spPr/>
        <p:txBody>
          <a:bodyPr/>
          <a:lstStyle>
            <a:lvl1pPr>
              <a:defRPr/>
            </a:lvl1pPr>
          </a:lstStyle>
          <a:p>
            <a:r>
              <a:rPr lang="de-DE" altLang="de-DE"/>
              <a:t>Studienanfängerhoch und Mobilität | Detlef Müller-Böling | 27.08.2007</a:t>
            </a:r>
          </a:p>
        </p:txBody>
      </p:sp>
      <p:sp>
        <p:nvSpPr>
          <p:cNvPr id="4" name="Foliennummernplatzhalter 3">
            <a:extLst>
              <a:ext uri="{FF2B5EF4-FFF2-40B4-BE49-F238E27FC236}">
                <a16:creationId xmlns:a16="http://schemas.microsoft.com/office/drawing/2014/main" id="{22ABEF45-826D-9844-ABD2-5273D44F1BB1}"/>
              </a:ext>
            </a:extLst>
          </p:cNvPr>
          <p:cNvSpPr>
            <a:spLocks noGrp="1"/>
          </p:cNvSpPr>
          <p:nvPr>
            <p:ph type="sldNum" sz="quarter" idx="11"/>
          </p:nvPr>
        </p:nvSpPr>
        <p:spPr/>
        <p:txBody>
          <a:bodyPr/>
          <a:lstStyle>
            <a:lvl1pPr>
              <a:defRPr/>
            </a:lvl1pPr>
          </a:lstStyle>
          <a:p>
            <a:fld id="{837B81B9-6A7E-5A43-B467-5A03B8373C71}" type="slidenum">
              <a:rPr lang="de-DE" altLang="de-DE"/>
              <a:pPr/>
              <a:t>‹Nr.›</a:t>
            </a:fld>
            <a:endParaRPr lang="de-DE" altLang="de-DE"/>
          </a:p>
        </p:txBody>
      </p:sp>
    </p:spTree>
    <p:extLst>
      <p:ext uri="{BB962C8B-B14F-4D97-AF65-F5344CB8AC3E}">
        <p14:creationId xmlns:p14="http://schemas.microsoft.com/office/powerpoint/2010/main" val="21339284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3EEBC813-0071-894D-9562-B4D29BBF9564}"/>
              </a:ext>
            </a:extLst>
          </p:cNvPr>
          <p:cNvSpPr>
            <a:spLocks noGrp="1"/>
          </p:cNvSpPr>
          <p:nvPr>
            <p:ph type="ftr" sz="quarter" idx="10"/>
          </p:nvPr>
        </p:nvSpPr>
        <p:spPr/>
        <p:txBody>
          <a:bodyPr/>
          <a:lstStyle>
            <a:lvl1pPr>
              <a:defRPr/>
            </a:lvl1pPr>
          </a:lstStyle>
          <a:p>
            <a:r>
              <a:rPr lang="de-DE" altLang="de-DE"/>
              <a:t>Studienanfängerhoch und Mobilität | Detlef Müller-Böling | 27.08.2007</a:t>
            </a:r>
          </a:p>
        </p:txBody>
      </p:sp>
      <p:sp>
        <p:nvSpPr>
          <p:cNvPr id="3" name="Foliennummernplatzhalter 2">
            <a:extLst>
              <a:ext uri="{FF2B5EF4-FFF2-40B4-BE49-F238E27FC236}">
                <a16:creationId xmlns:a16="http://schemas.microsoft.com/office/drawing/2014/main" id="{E433BE22-0A34-3E41-8C30-1FABC8932E3D}"/>
              </a:ext>
            </a:extLst>
          </p:cNvPr>
          <p:cNvSpPr>
            <a:spLocks noGrp="1"/>
          </p:cNvSpPr>
          <p:nvPr>
            <p:ph type="sldNum" sz="quarter" idx="11"/>
          </p:nvPr>
        </p:nvSpPr>
        <p:spPr/>
        <p:txBody>
          <a:bodyPr/>
          <a:lstStyle>
            <a:lvl1pPr>
              <a:defRPr/>
            </a:lvl1pPr>
          </a:lstStyle>
          <a:p>
            <a:fld id="{3882DBC8-132A-2744-AA3A-D7AA57F08CB5}" type="slidenum">
              <a:rPr lang="de-DE" altLang="de-DE"/>
              <a:pPr/>
              <a:t>‹Nr.›</a:t>
            </a:fld>
            <a:endParaRPr lang="de-DE" altLang="de-DE"/>
          </a:p>
        </p:txBody>
      </p:sp>
    </p:spTree>
    <p:extLst>
      <p:ext uri="{BB962C8B-B14F-4D97-AF65-F5344CB8AC3E}">
        <p14:creationId xmlns:p14="http://schemas.microsoft.com/office/powerpoint/2010/main" val="18825875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3F506-2155-4145-949B-C6DE222AD268}"/>
              </a:ext>
            </a:extLst>
          </p:cNvPr>
          <p:cNvSpPr>
            <a:spLocks noGrp="1"/>
          </p:cNvSpPr>
          <p:nvPr>
            <p:ph type="title"/>
          </p:nvPr>
        </p:nvSpPr>
        <p:spPr>
          <a:xfrm>
            <a:off x="630238" y="457200"/>
            <a:ext cx="2949575"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93C1A2B1-D33B-B54C-8889-5A5BB6B6380F}"/>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43A2928B-AE22-E64F-AF57-1B0D0898DFA0}"/>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Fußzeilenplatzhalter 4">
            <a:extLst>
              <a:ext uri="{FF2B5EF4-FFF2-40B4-BE49-F238E27FC236}">
                <a16:creationId xmlns:a16="http://schemas.microsoft.com/office/drawing/2014/main" id="{34793076-CA34-9344-A208-AEFB6577DAC9}"/>
              </a:ext>
            </a:extLst>
          </p:cNvPr>
          <p:cNvSpPr>
            <a:spLocks noGrp="1"/>
          </p:cNvSpPr>
          <p:nvPr>
            <p:ph type="ftr" sz="quarter" idx="10"/>
          </p:nvPr>
        </p:nvSpPr>
        <p:spPr/>
        <p:txBody>
          <a:bodyPr/>
          <a:lstStyle>
            <a:lvl1pPr>
              <a:defRPr/>
            </a:lvl1pPr>
          </a:lstStyle>
          <a:p>
            <a:r>
              <a:rPr lang="de-DE" altLang="de-DE"/>
              <a:t>Studienanfängerhoch und Mobilität | Detlef Müller-Böling | 27.08.2007</a:t>
            </a:r>
          </a:p>
        </p:txBody>
      </p:sp>
      <p:sp>
        <p:nvSpPr>
          <p:cNvPr id="6" name="Foliennummernplatzhalter 5">
            <a:extLst>
              <a:ext uri="{FF2B5EF4-FFF2-40B4-BE49-F238E27FC236}">
                <a16:creationId xmlns:a16="http://schemas.microsoft.com/office/drawing/2014/main" id="{C4982E55-A276-804A-AF98-7D856B0D6685}"/>
              </a:ext>
            </a:extLst>
          </p:cNvPr>
          <p:cNvSpPr>
            <a:spLocks noGrp="1"/>
          </p:cNvSpPr>
          <p:nvPr>
            <p:ph type="sldNum" sz="quarter" idx="11"/>
          </p:nvPr>
        </p:nvSpPr>
        <p:spPr/>
        <p:txBody>
          <a:bodyPr/>
          <a:lstStyle>
            <a:lvl1pPr>
              <a:defRPr/>
            </a:lvl1pPr>
          </a:lstStyle>
          <a:p>
            <a:fld id="{E1A4B508-A373-9A47-BF39-C28D48CE1305}" type="slidenum">
              <a:rPr lang="de-DE" altLang="de-DE"/>
              <a:pPr/>
              <a:t>‹Nr.›</a:t>
            </a:fld>
            <a:endParaRPr lang="de-DE" altLang="de-DE"/>
          </a:p>
        </p:txBody>
      </p:sp>
    </p:spTree>
    <p:extLst>
      <p:ext uri="{BB962C8B-B14F-4D97-AF65-F5344CB8AC3E}">
        <p14:creationId xmlns:p14="http://schemas.microsoft.com/office/powerpoint/2010/main" val="12182261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769C26-98F0-4742-BAB0-C4ABDF2D889A}"/>
              </a:ext>
            </a:extLst>
          </p:cNvPr>
          <p:cNvSpPr>
            <a:spLocks noGrp="1"/>
          </p:cNvSpPr>
          <p:nvPr>
            <p:ph type="title"/>
          </p:nvPr>
        </p:nvSpPr>
        <p:spPr>
          <a:xfrm>
            <a:off x="630238" y="457200"/>
            <a:ext cx="2949575"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519EFAAA-684E-E34D-A36E-024B1DAD3B4F}"/>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B978781C-3F5A-6343-904F-C989DF3E853B}"/>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Fußzeilenplatzhalter 4">
            <a:extLst>
              <a:ext uri="{FF2B5EF4-FFF2-40B4-BE49-F238E27FC236}">
                <a16:creationId xmlns:a16="http://schemas.microsoft.com/office/drawing/2014/main" id="{D3ED28F8-D14F-014E-81BA-A8ECC5C304B0}"/>
              </a:ext>
            </a:extLst>
          </p:cNvPr>
          <p:cNvSpPr>
            <a:spLocks noGrp="1"/>
          </p:cNvSpPr>
          <p:nvPr>
            <p:ph type="ftr" sz="quarter" idx="10"/>
          </p:nvPr>
        </p:nvSpPr>
        <p:spPr/>
        <p:txBody>
          <a:bodyPr/>
          <a:lstStyle>
            <a:lvl1pPr>
              <a:defRPr/>
            </a:lvl1pPr>
          </a:lstStyle>
          <a:p>
            <a:r>
              <a:rPr lang="de-DE" altLang="de-DE"/>
              <a:t>Studienanfängerhoch und Mobilität | Detlef Müller-Böling | 27.08.2007</a:t>
            </a:r>
          </a:p>
        </p:txBody>
      </p:sp>
      <p:sp>
        <p:nvSpPr>
          <p:cNvPr id="6" name="Foliennummernplatzhalter 5">
            <a:extLst>
              <a:ext uri="{FF2B5EF4-FFF2-40B4-BE49-F238E27FC236}">
                <a16:creationId xmlns:a16="http://schemas.microsoft.com/office/drawing/2014/main" id="{3561EBF0-2553-0249-8990-C8CBB504F687}"/>
              </a:ext>
            </a:extLst>
          </p:cNvPr>
          <p:cNvSpPr>
            <a:spLocks noGrp="1"/>
          </p:cNvSpPr>
          <p:nvPr>
            <p:ph type="sldNum" sz="quarter" idx="11"/>
          </p:nvPr>
        </p:nvSpPr>
        <p:spPr/>
        <p:txBody>
          <a:bodyPr/>
          <a:lstStyle>
            <a:lvl1pPr>
              <a:defRPr/>
            </a:lvl1pPr>
          </a:lstStyle>
          <a:p>
            <a:fld id="{EDD72F9F-8E0B-764F-9ECA-02E69DB804BE}" type="slidenum">
              <a:rPr lang="de-DE" altLang="de-DE"/>
              <a:pPr/>
              <a:t>‹Nr.›</a:t>
            </a:fld>
            <a:endParaRPr lang="de-DE" altLang="de-DE"/>
          </a:p>
        </p:txBody>
      </p:sp>
    </p:spTree>
    <p:extLst>
      <p:ext uri="{BB962C8B-B14F-4D97-AF65-F5344CB8AC3E}">
        <p14:creationId xmlns:p14="http://schemas.microsoft.com/office/powerpoint/2010/main" val="42698296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35" name="Picture 11">
            <a:extLst>
              <a:ext uri="{FF2B5EF4-FFF2-40B4-BE49-F238E27FC236}">
                <a16:creationId xmlns:a16="http://schemas.microsoft.com/office/drawing/2014/main" id="{4DFFFF84-2372-1042-9114-D2423F775DB6}"/>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968375"/>
            <a:ext cx="8016875" cy="5889625"/>
          </a:xfrm>
          <a:prstGeom prst="rect">
            <a:avLst/>
          </a:prstGeom>
          <a:noFill/>
          <a:extLst>
            <a:ext uri="{909E8E84-426E-40DD-AFC4-6F175D3DCCD1}">
              <a14:hiddenFill xmlns:a14="http://schemas.microsoft.com/office/drawing/2010/main">
                <a:solidFill>
                  <a:srgbClr val="FFFFFF"/>
                </a:solidFill>
              </a14:hiddenFill>
            </a:ext>
          </a:extLst>
        </p:spPr>
      </p:pic>
      <p:sp>
        <p:nvSpPr>
          <p:cNvPr id="1036" name="Rectangle 12">
            <a:extLst>
              <a:ext uri="{FF2B5EF4-FFF2-40B4-BE49-F238E27FC236}">
                <a16:creationId xmlns:a16="http://schemas.microsoft.com/office/drawing/2014/main" id="{A2320295-9B57-3149-B244-DC1F4601DEE1}"/>
              </a:ext>
            </a:extLst>
          </p:cNvPr>
          <p:cNvSpPr>
            <a:spLocks noChangeArrowheads="1"/>
          </p:cNvSpPr>
          <p:nvPr userDrawn="1"/>
        </p:nvSpPr>
        <p:spPr bwMode="auto">
          <a:xfrm>
            <a:off x="0" y="6453188"/>
            <a:ext cx="9144000" cy="404812"/>
          </a:xfrm>
          <a:prstGeom prst="rect">
            <a:avLst/>
          </a:prstGeom>
          <a:solidFill>
            <a:srgbClr val="E9E9E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32" name="Rectangle 8">
            <a:extLst>
              <a:ext uri="{FF2B5EF4-FFF2-40B4-BE49-F238E27FC236}">
                <a16:creationId xmlns:a16="http://schemas.microsoft.com/office/drawing/2014/main" id="{8327A8CD-EDB9-F742-9E9B-579D6F632E9C}"/>
              </a:ext>
            </a:extLst>
          </p:cNvPr>
          <p:cNvSpPr>
            <a:spLocks noChangeArrowheads="1"/>
          </p:cNvSpPr>
          <p:nvPr userDrawn="1"/>
        </p:nvSpPr>
        <p:spPr bwMode="auto">
          <a:xfrm>
            <a:off x="0" y="0"/>
            <a:ext cx="9144000" cy="765175"/>
          </a:xfrm>
          <a:prstGeom prst="rect">
            <a:avLst/>
          </a:prstGeom>
          <a:solidFill>
            <a:srgbClr val="E9E9E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026" name="Rectangle 2">
            <a:extLst>
              <a:ext uri="{FF2B5EF4-FFF2-40B4-BE49-F238E27FC236}">
                <a16:creationId xmlns:a16="http://schemas.microsoft.com/office/drawing/2014/main" id="{4AA4BFAD-85B0-0B49-9D95-CBC0115637B3}"/>
              </a:ext>
            </a:extLst>
          </p:cNvPr>
          <p:cNvSpPr>
            <a:spLocks noGrp="1" noChangeArrowheads="1"/>
          </p:cNvSpPr>
          <p:nvPr>
            <p:ph type="title"/>
          </p:nvPr>
        </p:nvSpPr>
        <p:spPr bwMode="auto">
          <a:xfrm>
            <a:off x="322263" y="44450"/>
            <a:ext cx="6697662" cy="72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de-DE" altLang="de-DE"/>
              <a:t>Titelmasterformat durch Klicken</a:t>
            </a:r>
          </a:p>
        </p:txBody>
      </p:sp>
      <p:sp>
        <p:nvSpPr>
          <p:cNvPr id="1027" name="Rectangle 3">
            <a:extLst>
              <a:ext uri="{FF2B5EF4-FFF2-40B4-BE49-F238E27FC236}">
                <a16:creationId xmlns:a16="http://schemas.microsoft.com/office/drawing/2014/main" id="{044C356C-5A1B-A34C-A059-F7A3EA9B48AF}"/>
              </a:ext>
            </a:extLst>
          </p:cNvPr>
          <p:cNvSpPr>
            <a:spLocks noGrp="1" noChangeArrowheads="1"/>
          </p:cNvSpPr>
          <p:nvPr>
            <p:ph type="body" idx="1"/>
          </p:nvPr>
        </p:nvSpPr>
        <p:spPr bwMode="auto">
          <a:xfrm>
            <a:off x="457200" y="1639888"/>
            <a:ext cx="8229600" cy="4525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1029" name="Rectangle 5">
            <a:extLst>
              <a:ext uri="{FF2B5EF4-FFF2-40B4-BE49-F238E27FC236}">
                <a16:creationId xmlns:a16="http://schemas.microsoft.com/office/drawing/2014/main" id="{3ED8F18B-EFA1-644F-AC44-F58D8F6C5AB6}"/>
              </a:ext>
            </a:extLst>
          </p:cNvPr>
          <p:cNvSpPr>
            <a:spLocks noGrp="1" noChangeArrowheads="1"/>
          </p:cNvSpPr>
          <p:nvPr>
            <p:ph type="ftr" sz="quarter" idx="3"/>
          </p:nvPr>
        </p:nvSpPr>
        <p:spPr bwMode="auto">
          <a:xfrm>
            <a:off x="179388" y="6524625"/>
            <a:ext cx="626427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solidFill>
                  <a:srgbClr val="414141"/>
                </a:solidFill>
              </a:defRPr>
            </a:lvl1pPr>
          </a:lstStyle>
          <a:p>
            <a:r>
              <a:rPr lang="de-DE" altLang="de-DE"/>
              <a:t>Studienanfängerhoch und Mobilität | Detlef Müller-Böling | 27.08.2007</a:t>
            </a:r>
          </a:p>
        </p:txBody>
      </p:sp>
      <p:sp>
        <p:nvSpPr>
          <p:cNvPr id="1030" name="Rectangle 6">
            <a:extLst>
              <a:ext uri="{FF2B5EF4-FFF2-40B4-BE49-F238E27FC236}">
                <a16:creationId xmlns:a16="http://schemas.microsoft.com/office/drawing/2014/main" id="{F3C8AE6C-A365-5445-88FC-0A7E9D4B1CE7}"/>
              </a:ext>
            </a:extLst>
          </p:cNvPr>
          <p:cNvSpPr>
            <a:spLocks noGrp="1" noChangeArrowheads="1"/>
          </p:cNvSpPr>
          <p:nvPr>
            <p:ph type="sldNum" sz="quarter" idx="4"/>
          </p:nvPr>
        </p:nvSpPr>
        <p:spPr bwMode="auto">
          <a:xfrm>
            <a:off x="6831013" y="6553200"/>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solidFill>
                  <a:srgbClr val="FF0000"/>
                </a:solidFill>
              </a:defRPr>
            </a:lvl1pPr>
          </a:lstStyle>
          <a:p>
            <a:fld id="{F8FC68A3-2E4D-CE49-85F8-61E5BC476249}" type="slidenum">
              <a:rPr lang="de-DE" altLang="de-DE"/>
              <a:pPr/>
              <a:t>‹Nr.›</a:t>
            </a:fld>
            <a:endParaRPr lang="de-DE" altLang="de-DE"/>
          </a:p>
        </p:txBody>
      </p:sp>
      <p:pic>
        <p:nvPicPr>
          <p:cNvPr id="1037" name="Picture 13">
            <a:extLst>
              <a:ext uri="{FF2B5EF4-FFF2-40B4-BE49-F238E27FC236}">
                <a16:creationId xmlns:a16="http://schemas.microsoft.com/office/drawing/2014/main" id="{08F8F015-C239-8942-BA91-AAB375950736}"/>
              </a:ext>
            </a:extLst>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667625" y="115888"/>
            <a:ext cx="1270000" cy="576262"/>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dt="0"/>
  <p:txStyles>
    <p:titleStyle>
      <a:lvl1pPr algn="l" rtl="0" fontAlgn="base">
        <a:spcBef>
          <a:spcPct val="0"/>
        </a:spcBef>
        <a:spcAft>
          <a:spcPct val="0"/>
        </a:spcAft>
        <a:defRPr sz="2800" kern="1200">
          <a:solidFill>
            <a:srgbClr val="414141"/>
          </a:solidFill>
          <a:latin typeface="+mj-lt"/>
          <a:ea typeface="+mj-ea"/>
          <a:cs typeface="+mj-cs"/>
        </a:defRPr>
      </a:lvl1pPr>
      <a:lvl2pPr algn="l" rtl="0" fontAlgn="base">
        <a:spcBef>
          <a:spcPct val="0"/>
        </a:spcBef>
        <a:spcAft>
          <a:spcPct val="0"/>
        </a:spcAft>
        <a:defRPr sz="2800">
          <a:solidFill>
            <a:srgbClr val="414141"/>
          </a:solidFill>
          <a:latin typeface="Arial" panose="020B0604020202020204" pitchFamily="34" charset="0"/>
        </a:defRPr>
      </a:lvl2pPr>
      <a:lvl3pPr algn="l" rtl="0" fontAlgn="base">
        <a:spcBef>
          <a:spcPct val="0"/>
        </a:spcBef>
        <a:spcAft>
          <a:spcPct val="0"/>
        </a:spcAft>
        <a:defRPr sz="2800">
          <a:solidFill>
            <a:srgbClr val="414141"/>
          </a:solidFill>
          <a:latin typeface="Arial" panose="020B0604020202020204" pitchFamily="34" charset="0"/>
        </a:defRPr>
      </a:lvl3pPr>
      <a:lvl4pPr algn="l" rtl="0" fontAlgn="base">
        <a:spcBef>
          <a:spcPct val="0"/>
        </a:spcBef>
        <a:spcAft>
          <a:spcPct val="0"/>
        </a:spcAft>
        <a:defRPr sz="2800">
          <a:solidFill>
            <a:srgbClr val="414141"/>
          </a:solidFill>
          <a:latin typeface="Arial" panose="020B0604020202020204" pitchFamily="34" charset="0"/>
        </a:defRPr>
      </a:lvl4pPr>
      <a:lvl5pPr algn="l" rtl="0" fontAlgn="base">
        <a:spcBef>
          <a:spcPct val="0"/>
        </a:spcBef>
        <a:spcAft>
          <a:spcPct val="0"/>
        </a:spcAft>
        <a:defRPr sz="2800">
          <a:solidFill>
            <a:srgbClr val="414141"/>
          </a:solidFill>
          <a:latin typeface="Arial" panose="020B0604020202020204" pitchFamily="34" charset="0"/>
        </a:defRPr>
      </a:lvl5pPr>
      <a:lvl6pPr marL="457200" algn="l" rtl="0" fontAlgn="base">
        <a:spcBef>
          <a:spcPct val="0"/>
        </a:spcBef>
        <a:spcAft>
          <a:spcPct val="0"/>
        </a:spcAft>
        <a:defRPr sz="2800">
          <a:solidFill>
            <a:srgbClr val="414141"/>
          </a:solidFill>
          <a:latin typeface="Arial" panose="020B0604020202020204" pitchFamily="34" charset="0"/>
        </a:defRPr>
      </a:lvl6pPr>
      <a:lvl7pPr marL="914400" algn="l" rtl="0" fontAlgn="base">
        <a:spcBef>
          <a:spcPct val="0"/>
        </a:spcBef>
        <a:spcAft>
          <a:spcPct val="0"/>
        </a:spcAft>
        <a:defRPr sz="2800">
          <a:solidFill>
            <a:srgbClr val="414141"/>
          </a:solidFill>
          <a:latin typeface="Arial" panose="020B0604020202020204" pitchFamily="34" charset="0"/>
        </a:defRPr>
      </a:lvl7pPr>
      <a:lvl8pPr marL="1371600" algn="l" rtl="0" fontAlgn="base">
        <a:spcBef>
          <a:spcPct val="0"/>
        </a:spcBef>
        <a:spcAft>
          <a:spcPct val="0"/>
        </a:spcAft>
        <a:defRPr sz="2800">
          <a:solidFill>
            <a:srgbClr val="414141"/>
          </a:solidFill>
          <a:latin typeface="Arial" panose="020B0604020202020204" pitchFamily="34" charset="0"/>
        </a:defRPr>
      </a:lvl8pPr>
      <a:lvl9pPr marL="1828800" algn="l" rtl="0" fontAlgn="base">
        <a:spcBef>
          <a:spcPct val="0"/>
        </a:spcBef>
        <a:spcAft>
          <a:spcPct val="0"/>
        </a:spcAft>
        <a:defRPr sz="2800">
          <a:solidFill>
            <a:srgbClr val="414141"/>
          </a:solidFill>
          <a:latin typeface="Arial" panose="020B0604020202020204" pitchFamily="34" charset="0"/>
        </a:defRPr>
      </a:lvl9pPr>
    </p:titleStyle>
    <p:bodyStyle>
      <a:lvl1pPr marL="342900" indent="-342900" algn="l" rtl="0" fontAlgn="base">
        <a:spcBef>
          <a:spcPct val="20000"/>
        </a:spcBef>
        <a:spcAft>
          <a:spcPct val="0"/>
        </a:spcAft>
        <a:buClr>
          <a:srgbClr val="FF0000"/>
        </a:buClr>
        <a:buFont typeface="Wingdings" pitchFamily="2" charset="2"/>
        <a:buChar char="§"/>
        <a:defRPr sz="2800" kern="1200">
          <a:solidFill>
            <a:srgbClr val="414141"/>
          </a:solidFill>
          <a:latin typeface="+mn-lt"/>
          <a:ea typeface="+mn-ea"/>
          <a:cs typeface="+mn-cs"/>
        </a:defRPr>
      </a:lvl1pPr>
      <a:lvl2pPr marL="742950" indent="-285750" algn="l" rtl="0" fontAlgn="base">
        <a:spcBef>
          <a:spcPct val="20000"/>
        </a:spcBef>
        <a:spcAft>
          <a:spcPct val="0"/>
        </a:spcAft>
        <a:buClr>
          <a:srgbClr val="FF0000"/>
        </a:buClr>
        <a:buFont typeface="Arial" panose="020B0604020202020204" pitchFamily="34" charset="0"/>
        <a:buChar char="–"/>
        <a:defRPr sz="2400" kern="1200">
          <a:solidFill>
            <a:srgbClr val="414141"/>
          </a:solidFill>
          <a:latin typeface="+mn-lt"/>
          <a:ea typeface="+mn-ea"/>
          <a:cs typeface="+mn-cs"/>
        </a:defRPr>
      </a:lvl2pPr>
      <a:lvl3pPr marL="1143000" indent="-228600" algn="l" rtl="0" fontAlgn="base">
        <a:spcBef>
          <a:spcPct val="20000"/>
        </a:spcBef>
        <a:spcAft>
          <a:spcPct val="0"/>
        </a:spcAft>
        <a:buClr>
          <a:srgbClr val="FF0000"/>
        </a:buClr>
        <a:buChar char="•"/>
        <a:defRPr sz="2400" kern="1200">
          <a:solidFill>
            <a:srgbClr val="414141"/>
          </a:solidFill>
          <a:latin typeface="+mn-lt"/>
          <a:ea typeface="+mn-ea"/>
          <a:cs typeface="+mn-cs"/>
        </a:defRPr>
      </a:lvl3pPr>
      <a:lvl4pPr marL="1600200" indent="-228600" algn="l" rtl="0" fontAlgn="base">
        <a:spcBef>
          <a:spcPct val="20000"/>
        </a:spcBef>
        <a:spcAft>
          <a:spcPct val="0"/>
        </a:spcAft>
        <a:buClr>
          <a:srgbClr val="FF0000"/>
        </a:buClr>
        <a:buChar char="–"/>
        <a:defRPr sz="2000" kern="1200">
          <a:solidFill>
            <a:srgbClr val="414141"/>
          </a:solidFill>
          <a:latin typeface="+mn-lt"/>
          <a:ea typeface="+mn-ea"/>
          <a:cs typeface="+mn-cs"/>
        </a:defRPr>
      </a:lvl4pPr>
      <a:lvl5pPr marL="2057400" indent="-228600" algn="l" rtl="0" fontAlgn="base">
        <a:spcBef>
          <a:spcPct val="20000"/>
        </a:spcBef>
        <a:spcAft>
          <a:spcPct val="0"/>
        </a:spcAft>
        <a:buClr>
          <a:srgbClr val="FF0000"/>
        </a:buClr>
        <a:buChar char="»"/>
        <a:defRPr sz="2000" kern="1200">
          <a:solidFill>
            <a:srgbClr val="41414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4.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1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15.xml"/><Relationship Id="rId5" Type="http://schemas.openxmlformats.org/officeDocument/2006/relationships/slideLayout" Target="../slideLayouts/slideLayout2.xml"/><Relationship Id="rId4" Type="http://schemas.openxmlformats.org/officeDocument/2006/relationships/tags" Target="../tags/tag8.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vmlDrawing" Target="../drawings/vmlDrawing9.vml"/><Relationship Id="rId5" Type="http://schemas.openxmlformats.org/officeDocument/2006/relationships/image" Target="../media/image13.emf"/><Relationship Id="rId4" Type="http://schemas.openxmlformats.org/officeDocument/2006/relationships/oleObject" Target="../embeddings/oleObject9.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vmlDrawing" Target="../drawings/vmlDrawing10.vml"/><Relationship Id="rId5" Type="http://schemas.openxmlformats.org/officeDocument/2006/relationships/image" Target="../media/image14.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vmlDrawing" Target="../drawings/vmlDrawing11.vml"/><Relationship Id="rId5" Type="http://schemas.openxmlformats.org/officeDocument/2006/relationships/image" Target="../media/image15.emf"/><Relationship Id="rId4" Type="http://schemas.openxmlformats.org/officeDocument/2006/relationships/oleObject" Target="../embeddings/oleObject11.bin"/></Relationships>
</file>

<file path=ppt/slides/_rels/slide2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7.emf"/></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9.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vmlDrawing" Target="../drawings/vmlDrawing12.vml"/><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vmlDrawing" Target="../drawings/vmlDrawing5.vml"/><Relationship Id="rId5" Type="http://schemas.openxmlformats.org/officeDocument/2006/relationships/image" Target="../media/image9.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a:extLst>
              <a:ext uri="{FF2B5EF4-FFF2-40B4-BE49-F238E27FC236}">
                <a16:creationId xmlns:a16="http://schemas.microsoft.com/office/drawing/2014/main" id="{75626E46-EB57-4C4F-BB19-A5B86F151463}"/>
              </a:ext>
            </a:extLst>
          </p:cNvPr>
          <p:cNvSpPr>
            <a:spLocks noGrp="1" noChangeArrowheads="1"/>
          </p:cNvSpPr>
          <p:nvPr>
            <p:ph type="ctrTitle"/>
          </p:nvPr>
        </p:nvSpPr>
        <p:spPr>
          <a:xfrm>
            <a:off x="685800" y="2751138"/>
            <a:ext cx="7918450" cy="1470025"/>
          </a:xfrm>
        </p:spPr>
        <p:txBody>
          <a:bodyPr/>
          <a:lstStyle/>
          <a:p>
            <a:r>
              <a:rPr lang="de-DE" altLang="de-DE"/>
              <a:t>Studienanfängerhoch </a:t>
            </a:r>
            <a:br>
              <a:rPr lang="de-DE" altLang="de-DE"/>
            </a:br>
            <a:r>
              <a:rPr lang="de-DE" altLang="de-DE"/>
              <a:t>und Mobilität</a:t>
            </a:r>
          </a:p>
        </p:txBody>
      </p:sp>
      <p:sp>
        <p:nvSpPr>
          <p:cNvPr id="11267" name="Rectangle 3">
            <a:extLst>
              <a:ext uri="{FF2B5EF4-FFF2-40B4-BE49-F238E27FC236}">
                <a16:creationId xmlns:a16="http://schemas.microsoft.com/office/drawing/2014/main" id="{4788BD8A-0F0C-2B48-88A1-731E0E95215D}"/>
              </a:ext>
            </a:extLst>
          </p:cNvPr>
          <p:cNvSpPr>
            <a:spLocks noGrp="1" noChangeArrowheads="1"/>
          </p:cNvSpPr>
          <p:nvPr>
            <p:ph type="subTitle" idx="1"/>
          </p:nvPr>
        </p:nvSpPr>
        <p:spPr>
          <a:xfrm>
            <a:off x="2200275" y="4192588"/>
            <a:ext cx="6400800" cy="865187"/>
          </a:xfrm>
        </p:spPr>
        <p:txBody>
          <a:bodyPr/>
          <a:lstStyle/>
          <a:p>
            <a:r>
              <a:rPr lang="de-DE" altLang="de-DE"/>
              <a:t>Detlef Müller Böling</a:t>
            </a:r>
          </a:p>
          <a:p>
            <a:r>
              <a:rPr lang="de-DE" altLang="de-DE"/>
              <a:t>27. August 2007</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3">
            <a:extLst>
              <a:ext uri="{FF2B5EF4-FFF2-40B4-BE49-F238E27FC236}">
                <a16:creationId xmlns:a16="http://schemas.microsoft.com/office/drawing/2014/main" id="{7E58916E-A15B-1A46-9DF3-69F01DCBC684}"/>
              </a:ext>
            </a:extLst>
          </p:cNvPr>
          <p:cNvSpPr>
            <a:spLocks noGrp="1"/>
          </p:cNvSpPr>
          <p:nvPr>
            <p:ph type="ftr" sz="quarter" idx="10"/>
          </p:nvPr>
        </p:nvSpPr>
        <p:spPr/>
        <p:txBody>
          <a:bodyPr/>
          <a:lstStyle/>
          <a:p>
            <a:r>
              <a:rPr lang="de-DE" altLang="de-DE"/>
              <a:t>Studienanfängerhoch und Mobilität | Detlef Müller-Böling | 27.08.2007</a:t>
            </a:r>
          </a:p>
        </p:txBody>
      </p:sp>
      <p:sp>
        <p:nvSpPr>
          <p:cNvPr id="6" name="Foliennummernplatzhalter 4">
            <a:extLst>
              <a:ext uri="{FF2B5EF4-FFF2-40B4-BE49-F238E27FC236}">
                <a16:creationId xmlns:a16="http://schemas.microsoft.com/office/drawing/2014/main" id="{41EA8598-A9EA-DD4F-BB85-809CE82D77AA}"/>
              </a:ext>
            </a:extLst>
          </p:cNvPr>
          <p:cNvSpPr>
            <a:spLocks noGrp="1"/>
          </p:cNvSpPr>
          <p:nvPr>
            <p:ph type="sldNum" sz="quarter" idx="11"/>
          </p:nvPr>
        </p:nvSpPr>
        <p:spPr/>
        <p:txBody>
          <a:bodyPr/>
          <a:lstStyle/>
          <a:p>
            <a:fld id="{29539618-B92F-904B-ADBF-FF48316E14D4}" type="slidenum">
              <a:rPr lang="de-DE" altLang="de-DE"/>
              <a:pPr/>
              <a:t>10</a:t>
            </a:fld>
            <a:endParaRPr lang="de-DE" altLang="de-DE"/>
          </a:p>
        </p:txBody>
      </p:sp>
      <p:sp>
        <p:nvSpPr>
          <p:cNvPr id="79874" name="Rectangle 2">
            <a:extLst>
              <a:ext uri="{FF2B5EF4-FFF2-40B4-BE49-F238E27FC236}">
                <a16:creationId xmlns:a16="http://schemas.microsoft.com/office/drawing/2014/main" id="{026B33E3-B3B4-9D44-A67B-3A5A2417FC2F}"/>
              </a:ext>
            </a:extLst>
          </p:cNvPr>
          <p:cNvSpPr>
            <a:spLocks noGrp="1" noChangeArrowheads="1"/>
          </p:cNvSpPr>
          <p:nvPr>
            <p:ph type="title"/>
          </p:nvPr>
        </p:nvSpPr>
        <p:spPr/>
        <p:txBody>
          <a:bodyPr/>
          <a:lstStyle/>
          <a:p>
            <a:r>
              <a:rPr lang="de-DE" altLang="de-DE"/>
              <a:t>Vergleich der Gesamtkosten bis 2020</a:t>
            </a:r>
          </a:p>
        </p:txBody>
      </p:sp>
      <p:graphicFrame>
        <p:nvGraphicFramePr>
          <p:cNvPr id="79877" name="Object 5">
            <a:extLst>
              <a:ext uri="{FF2B5EF4-FFF2-40B4-BE49-F238E27FC236}">
                <a16:creationId xmlns:a16="http://schemas.microsoft.com/office/drawing/2014/main" id="{84C4CA2C-151B-A241-A544-4B292D024895}"/>
              </a:ext>
            </a:extLst>
          </p:cNvPr>
          <p:cNvGraphicFramePr>
            <a:graphicFrameLocks noChangeAspect="1"/>
          </p:cNvGraphicFramePr>
          <p:nvPr>
            <p:ph idx="1"/>
          </p:nvPr>
        </p:nvGraphicFramePr>
        <p:xfrm>
          <a:off x="457200" y="1639888"/>
          <a:ext cx="8229600" cy="4524375"/>
        </p:xfrm>
        <a:graphic>
          <a:graphicData uri="http://schemas.openxmlformats.org/presentationml/2006/ole">
            <mc:AlternateContent xmlns:mc="http://schemas.openxmlformats.org/markup-compatibility/2006">
              <mc:Choice xmlns:v="urn:schemas-microsoft-com:vml" Requires="v">
                <p:oleObj spid="_x0000_s79880" name="Diagramm" r:id="rId4" imgW="8242300" imgH="4533900" progId="MSGraph.Chart.8">
                  <p:embed followColorScheme="full"/>
                </p:oleObj>
              </mc:Choice>
              <mc:Fallback>
                <p:oleObj name="Diagramm" r:id="rId4" imgW="8242300" imgH="4533900" progId="MSGraph.Chart.8">
                  <p:embed followColorScheme="full"/>
                  <p:pic>
                    <p:nvPicPr>
                      <p:cNvPr id="0"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 y="1639888"/>
                        <a:ext cx="8229600" cy="4524375"/>
                      </a:xfrm>
                      <a:prstGeom prst="rect">
                        <a:avLst/>
                      </a:prstGeom>
                    </p:spPr>
                  </p:pic>
                </p:oleObj>
              </mc:Fallback>
            </mc:AlternateContent>
          </a:graphicData>
        </a:graphic>
      </p:graphicFrame>
      <p:sp>
        <p:nvSpPr>
          <p:cNvPr id="79879" name="AutoShape 7">
            <a:extLst>
              <a:ext uri="{FF2B5EF4-FFF2-40B4-BE49-F238E27FC236}">
                <a16:creationId xmlns:a16="http://schemas.microsoft.com/office/drawing/2014/main" id="{521F14A0-002C-D246-B742-18D6050D9D87}"/>
              </a:ext>
            </a:extLst>
          </p:cNvPr>
          <p:cNvSpPr>
            <a:spLocks noChangeArrowheads="1"/>
          </p:cNvSpPr>
          <p:nvPr/>
        </p:nvSpPr>
        <p:spPr bwMode="auto">
          <a:xfrm>
            <a:off x="4716463" y="3500438"/>
            <a:ext cx="792162" cy="1655762"/>
          </a:xfrm>
          <a:prstGeom prst="cube">
            <a:avLst>
              <a:gd name="adj" fmla="val 25000"/>
            </a:avLst>
          </a:prstGeom>
          <a:solidFill>
            <a:srgbClr val="99CC00">
              <a:alpha val="53999"/>
            </a:srgb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de-DE" altLang="de-DE" sz="3200" b="1">
                <a:solidFill>
                  <a:srgbClr val="FF0000"/>
                </a:solidFill>
              </a:rPr>
              <a:t>?</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0"/>
                                          </p:stCondLst>
                                        </p:cTn>
                                        <p:tgtEl>
                                          <p:spTgt spid="79877">
                                            <p:oleChartEl type="gridLegend"/>
                                          </p:spTgt>
                                        </p:tgtEl>
                                        <p:attrNameLst>
                                          <p:attrName>style.visibility</p:attrName>
                                        </p:attrNameLst>
                                      </p:cBhvr>
                                      <p:to>
                                        <p:strVal val="visible"/>
                                      </p:to>
                                    </p:set>
                                  </p:childTnLst>
                                </p:cTn>
                              </p:par>
                            </p:childTnLst>
                          </p:cTn>
                        </p:par>
                        <p:par>
                          <p:cTn id="7" fill="hold" nodeType="afterGroup">
                            <p:stCondLst>
                              <p:cond delay="0"/>
                            </p:stCondLst>
                            <p:childTnLst>
                              <p:par>
                                <p:cTn id="8" presetID="8" presetClass="entr" presetSubtype="16" fill="hold" grpId="0" nodeType="afterEffect">
                                  <p:stCondLst>
                                    <p:cond delay="0"/>
                                  </p:stCondLst>
                                  <p:childTnLst>
                                    <p:set>
                                      <p:cBhvr>
                                        <p:cTn id="9" dur="1" fill="hold">
                                          <p:stCondLst>
                                            <p:cond delay="0"/>
                                          </p:stCondLst>
                                        </p:cTn>
                                        <p:tgtEl>
                                          <p:spTgt spid="79877">
                                            <p:oleChartEl type="series" lvl="1"/>
                                          </p:spTgt>
                                        </p:tgtEl>
                                        <p:attrNameLst>
                                          <p:attrName>style.visibility</p:attrName>
                                        </p:attrNameLst>
                                      </p:cBhvr>
                                      <p:to>
                                        <p:strVal val="visible"/>
                                      </p:to>
                                    </p:set>
                                    <p:animEffect transition="in" filter="diamond(in)">
                                      <p:cBhvr>
                                        <p:cTn id="10" dur="1000"/>
                                        <p:tgtEl>
                                          <p:spTgt spid="79877">
                                            <p:oleChartEl type="series" lvl="1"/>
                                          </p:spTgt>
                                        </p:tgtEl>
                                      </p:cBhvr>
                                    </p:animEffect>
                                  </p:childTnLst>
                                </p:cTn>
                              </p:par>
                            </p:childTnLst>
                          </p:cTn>
                        </p:par>
                        <p:par>
                          <p:cTn id="11" fill="hold" nodeType="afterGroup">
                            <p:stCondLst>
                              <p:cond delay="1000"/>
                            </p:stCondLst>
                            <p:childTnLst>
                              <p:par>
                                <p:cTn id="12" presetID="8" presetClass="entr" presetSubtype="16" fill="hold" grpId="0" nodeType="afterEffect">
                                  <p:stCondLst>
                                    <p:cond delay="0"/>
                                  </p:stCondLst>
                                  <p:childTnLst>
                                    <p:set>
                                      <p:cBhvr>
                                        <p:cTn id="13" dur="1" fill="hold">
                                          <p:stCondLst>
                                            <p:cond delay="0"/>
                                          </p:stCondLst>
                                        </p:cTn>
                                        <p:tgtEl>
                                          <p:spTgt spid="79877">
                                            <p:oleChartEl type="series" lvl="2"/>
                                          </p:spTgt>
                                        </p:tgtEl>
                                        <p:attrNameLst>
                                          <p:attrName>style.visibility</p:attrName>
                                        </p:attrNameLst>
                                      </p:cBhvr>
                                      <p:to>
                                        <p:strVal val="visible"/>
                                      </p:to>
                                    </p:set>
                                    <p:animEffect transition="in" filter="diamond(in)">
                                      <p:cBhvr>
                                        <p:cTn id="14" dur="1000"/>
                                        <p:tgtEl>
                                          <p:spTgt spid="79877">
                                            <p:oleChartEl type="series" lvl="2"/>
                                          </p:spTgt>
                                        </p:tgtEl>
                                      </p:cBhvr>
                                    </p:animEffect>
                                  </p:childTnLst>
                                </p:cTn>
                              </p:par>
                            </p:childTnLst>
                          </p:cTn>
                        </p:par>
                        <p:par>
                          <p:cTn id="15" fill="hold" nodeType="afterGroup">
                            <p:stCondLst>
                              <p:cond delay="2000"/>
                            </p:stCondLst>
                            <p:childTnLst>
                              <p:par>
                                <p:cTn id="16" presetID="8" presetClass="entr" presetSubtype="16" fill="hold" grpId="0" nodeType="afterEffect">
                                  <p:stCondLst>
                                    <p:cond delay="0"/>
                                  </p:stCondLst>
                                  <p:childTnLst>
                                    <p:set>
                                      <p:cBhvr>
                                        <p:cTn id="17" dur="1" fill="hold">
                                          <p:stCondLst>
                                            <p:cond delay="0"/>
                                          </p:stCondLst>
                                        </p:cTn>
                                        <p:tgtEl>
                                          <p:spTgt spid="79877">
                                            <p:oleChartEl type="series" lvl="3"/>
                                          </p:spTgt>
                                        </p:tgtEl>
                                        <p:attrNameLst>
                                          <p:attrName>style.visibility</p:attrName>
                                        </p:attrNameLst>
                                      </p:cBhvr>
                                      <p:to>
                                        <p:strVal val="visible"/>
                                      </p:to>
                                    </p:set>
                                    <p:animEffect transition="in" filter="diamond(in)">
                                      <p:cBhvr>
                                        <p:cTn id="18" dur="1000"/>
                                        <p:tgtEl>
                                          <p:spTgt spid="79877">
                                            <p:oleChartEl type="series" lvl="3"/>
                                          </p:spTgt>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8" presetClass="entr" presetSubtype="16" fill="hold" grpId="0" nodeType="clickEffect">
                                  <p:stCondLst>
                                    <p:cond delay="0"/>
                                  </p:stCondLst>
                                  <p:childTnLst>
                                    <p:set>
                                      <p:cBhvr>
                                        <p:cTn id="22" dur="1" fill="hold">
                                          <p:stCondLst>
                                            <p:cond delay="0"/>
                                          </p:stCondLst>
                                        </p:cTn>
                                        <p:tgtEl>
                                          <p:spTgt spid="79877">
                                            <p:oleChartEl type="series" lvl="4"/>
                                          </p:spTgt>
                                        </p:tgtEl>
                                        <p:attrNameLst>
                                          <p:attrName>style.visibility</p:attrName>
                                        </p:attrNameLst>
                                      </p:cBhvr>
                                      <p:to>
                                        <p:strVal val="visible"/>
                                      </p:to>
                                    </p:set>
                                    <p:animEffect transition="in" filter="diamond(in)">
                                      <p:cBhvr>
                                        <p:cTn id="23" dur="1000"/>
                                        <p:tgtEl>
                                          <p:spTgt spid="79877">
                                            <p:oleChartEl type="series" lvl="4"/>
                                          </p:spTgt>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8" presetClass="entr" presetSubtype="16" fill="hold" grpId="0" nodeType="clickEffect">
                                  <p:stCondLst>
                                    <p:cond delay="0"/>
                                  </p:stCondLst>
                                  <p:childTnLst>
                                    <p:set>
                                      <p:cBhvr>
                                        <p:cTn id="27" dur="1" fill="hold">
                                          <p:stCondLst>
                                            <p:cond delay="0"/>
                                          </p:stCondLst>
                                        </p:cTn>
                                        <p:tgtEl>
                                          <p:spTgt spid="79877">
                                            <p:oleChartEl type="series" lvl="5"/>
                                          </p:spTgt>
                                        </p:tgtEl>
                                        <p:attrNameLst>
                                          <p:attrName>style.visibility</p:attrName>
                                        </p:attrNameLst>
                                      </p:cBhvr>
                                      <p:to>
                                        <p:strVal val="visible"/>
                                      </p:to>
                                    </p:set>
                                    <p:animEffect transition="in" filter="diamond(in)">
                                      <p:cBhvr>
                                        <p:cTn id="28" dur="1000"/>
                                        <p:tgtEl>
                                          <p:spTgt spid="79877">
                                            <p:oleChartEl type="series" lvl="5"/>
                                          </p:spTgt>
                                        </p:tgtEl>
                                      </p:cBhvr>
                                    </p:animEffect>
                                  </p:childTnLst>
                                </p:cTn>
                              </p:par>
                            </p:childTnLst>
                          </p:cTn>
                        </p:par>
                      </p:childTnLst>
                    </p:cTn>
                  </p:par>
                  <p:par>
                    <p:cTn id="29" fill="hold" nodeType="clickPar">
                      <p:stCondLst>
                        <p:cond delay="indefinite"/>
                      </p:stCondLst>
                      <p:childTnLst>
                        <p:par>
                          <p:cTn id="30" fill="hold" nodeType="withGroup">
                            <p:stCondLst>
                              <p:cond delay="0"/>
                            </p:stCondLst>
                            <p:childTnLst>
                              <p:par>
                                <p:cTn id="31" presetID="3" presetClass="entr" presetSubtype="10" fill="hold" grpId="0" nodeType="clickEffect">
                                  <p:stCondLst>
                                    <p:cond delay="0"/>
                                  </p:stCondLst>
                                  <p:childTnLst>
                                    <p:set>
                                      <p:cBhvr>
                                        <p:cTn id="32" dur="1" fill="hold">
                                          <p:stCondLst>
                                            <p:cond delay="0"/>
                                          </p:stCondLst>
                                        </p:cTn>
                                        <p:tgtEl>
                                          <p:spTgt spid="79879"/>
                                        </p:tgtEl>
                                        <p:attrNameLst>
                                          <p:attrName>style.visibility</p:attrName>
                                        </p:attrNameLst>
                                      </p:cBhvr>
                                      <p:to>
                                        <p:strVal val="visible"/>
                                      </p:to>
                                    </p:set>
                                    <p:animEffect transition="in" filter="blinds(horizontal)">
                                      <p:cBhvr>
                                        <p:cTn id="33" dur="500"/>
                                        <p:tgtEl>
                                          <p:spTgt spid="798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79877" grpId="0" uiExpand="1" bld="series"/>
      <p:bldP spid="7987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3">
            <a:extLst>
              <a:ext uri="{FF2B5EF4-FFF2-40B4-BE49-F238E27FC236}">
                <a16:creationId xmlns:a16="http://schemas.microsoft.com/office/drawing/2014/main" id="{C225AAEF-D30A-7148-8C51-5085FFF143A9}"/>
              </a:ext>
            </a:extLst>
          </p:cNvPr>
          <p:cNvSpPr>
            <a:spLocks noGrp="1"/>
          </p:cNvSpPr>
          <p:nvPr>
            <p:ph type="ftr" sz="quarter" idx="10"/>
          </p:nvPr>
        </p:nvSpPr>
        <p:spPr/>
        <p:txBody>
          <a:bodyPr/>
          <a:lstStyle/>
          <a:p>
            <a:r>
              <a:rPr lang="de-DE" altLang="de-DE"/>
              <a:t>Studienanfängerhoch und Mobilität | Detlef Müller-Böling | 27.08.2007</a:t>
            </a:r>
          </a:p>
        </p:txBody>
      </p:sp>
      <p:sp>
        <p:nvSpPr>
          <p:cNvPr id="6" name="Foliennummernplatzhalter 4">
            <a:extLst>
              <a:ext uri="{FF2B5EF4-FFF2-40B4-BE49-F238E27FC236}">
                <a16:creationId xmlns:a16="http://schemas.microsoft.com/office/drawing/2014/main" id="{B8AF8A0C-9296-F54D-8F77-E39074F51883}"/>
              </a:ext>
            </a:extLst>
          </p:cNvPr>
          <p:cNvSpPr>
            <a:spLocks noGrp="1"/>
          </p:cNvSpPr>
          <p:nvPr>
            <p:ph type="sldNum" sz="quarter" idx="11"/>
          </p:nvPr>
        </p:nvSpPr>
        <p:spPr/>
        <p:txBody>
          <a:bodyPr/>
          <a:lstStyle/>
          <a:p>
            <a:fld id="{9DE2DC64-CF47-F246-9996-7217C742F0BB}" type="slidenum">
              <a:rPr lang="de-DE" altLang="de-DE"/>
              <a:pPr/>
              <a:t>11</a:t>
            </a:fld>
            <a:endParaRPr lang="de-DE" altLang="de-DE"/>
          </a:p>
        </p:txBody>
      </p:sp>
      <p:sp>
        <p:nvSpPr>
          <p:cNvPr id="102402" name="Rectangle 2">
            <a:extLst>
              <a:ext uri="{FF2B5EF4-FFF2-40B4-BE49-F238E27FC236}">
                <a16:creationId xmlns:a16="http://schemas.microsoft.com/office/drawing/2014/main" id="{32AFE2A1-3509-4A44-AF6F-F3DA0A859D0C}"/>
              </a:ext>
            </a:extLst>
          </p:cNvPr>
          <p:cNvSpPr>
            <a:spLocks noGrp="1" noChangeArrowheads="1"/>
          </p:cNvSpPr>
          <p:nvPr>
            <p:ph type="title"/>
          </p:nvPr>
        </p:nvSpPr>
        <p:spPr/>
        <p:txBody>
          <a:bodyPr/>
          <a:lstStyle/>
          <a:p>
            <a:r>
              <a:rPr lang="de-DE" altLang="de-DE" sz="2400"/>
              <a:t>Vergleich zusätzliche Kosten zu aktuellen Ausgaben</a:t>
            </a:r>
          </a:p>
        </p:txBody>
      </p:sp>
      <p:sp>
        <p:nvSpPr>
          <p:cNvPr id="102403" name="Rectangle 3">
            <a:extLst>
              <a:ext uri="{FF2B5EF4-FFF2-40B4-BE49-F238E27FC236}">
                <a16:creationId xmlns:a16="http://schemas.microsoft.com/office/drawing/2014/main" id="{A050D621-1BD9-F944-90E6-36FA1C680231}"/>
              </a:ext>
            </a:extLst>
          </p:cNvPr>
          <p:cNvSpPr>
            <a:spLocks noGrp="1" noChangeArrowheads="1"/>
          </p:cNvSpPr>
          <p:nvPr>
            <p:ph type="body" idx="1"/>
          </p:nvPr>
        </p:nvSpPr>
        <p:spPr>
          <a:xfrm>
            <a:off x="457200" y="1639888"/>
            <a:ext cx="8229600" cy="1717675"/>
          </a:xfrm>
        </p:spPr>
        <p:txBody>
          <a:bodyPr/>
          <a:lstStyle/>
          <a:p>
            <a:pPr>
              <a:buFont typeface="Wingdings" pitchFamily="2" charset="2"/>
              <a:buNone/>
            </a:pPr>
            <a:r>
              <a:rPr lang="de-DE" altLang="de-DE"/>
              <a:t>Aktuelle staatl. Ausgaben für Hochschulen:</a:t>
            </a:r>
          </a:p>
          <a:p>
            <a:pPr>
              <a:buFont typeface="Wingdings" pitchFamily="2" charset="2"/>
              <a:buNone/>
            </a:pPr>
            <a:r>
              <a:rPr lang="de-DE" altLang="de-DE"/>
              <a:t>zirka 20 Milliarden Euro pro Jahr</a:t>
            </a:r>
          </a:p>
          <a:p>
            <a:pPr>
              <a:buFont typeface="Wingdings" pitchFamily="2" charset="2"/>
              <a:buNone/>
            </a:pPr>
            <a:r>
              <a:rPr lang="de-DE" altLang="de-DE">
                <a:sym typeface="Wingdings" pitchFamily="2" charset="2"/>
              </a:rPr>
              <a:t> 2007 bis 2020: 140 Milliarden Euro</a:t>
            </a:r>
          </a:p>
          <a:p>
            <a:pPr>
              <a:buFont typeface="Wingdings" pitchFamily="2" charset="2"/>
              <a:buNone/>
            </a:pPr>
            <a:endParaRPr lang="de-DE" altLang="de-DE"/>
          </a:p>
        </p:txBody>
      </p:sp>
      <p:sp>
        <p:nvSpPr>
          <p:cNvPr id="102404" name="Text Box 4">
            <a:extLst>
              <a:ext uri="{FF2B5EF4-FFF2-40B4-BE49-F238E27FC236}">
                <a16:creationId xmlns:a16="http://schemas.microsoft.com/office/drawing/2014/main" id="{45E99970-D636-1546-8409-917CC5986110}"/>
              </a:ext>
            </a:extLst>
          </p:cNvPr>
          <p:cNvSpPr txBox="1">
            <a:spLocks noChangeArrowheads="1"/>
          </p:cNvSpPr>
          <p:nvPr/>
        </p:nvSpPr>
        <p:spPr bwMode="auto">
          <a:xfrm>
            <a:off x="611188" y="3500438"/>
            <a:ext cx="5976937"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449263" indent="-449263">
              <a:defRPr>
                <a:solidFill>
                  <a:schemeClr val="tx1"/>
                </a:solidFill>
                <a:latin typeface="Arial" panose="020B0604020202020204" pitchFamily="34" charset="0"/>
              </a:defRPr>
            </a:lvl1pPr>
            <a:lvl2pPr marL="628650">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pPr>
              <a:buFont typeface="Wingdings" pitchFamily="2" charset="2"/>
              <a:buChar char="§"/>
            </a:pPr>
            <a:r>
              <a:rPr lang="de-DE" altLang="de-DE" sz="2800">
                <a:solidFill>
                  <a:srgbClr val="414141"/>
                </a:solidFill>
              </a:rPr>
              <a:t>7,6 Milliarden Euro </a:t>
            </a:r>
            <a:r>
              <a:rPr lang="de-DE" altLang="de-DE" sz="2800">
                <a:solidFill>
                  <a:srgbClr val="414141"/>
                </a:solidFill>
                <a:sym typeface="Wingdings" pitchFamily="2" charset="2"/>
              </a:rPr>
              <a:t> +2,7%</a:t>
            </a:r>
          </a:p>
          <a:p>
            <a:pPr>
              <a:buFont typeface="Wingdings" pitchFamily="2" charset="2"/>
              <a:buChar char="§"/>
            </a:pPr>
            <a:r>
              <a:rPr lang="de-DE" altLang="de-DE" sz="2800">
                <a:solidFill>
                  <a:srgbClr val="414141"/>
                </a:solidFill>
              </a:rPr>
              <a:t>14,9 Milliarden Euro </a:t>
            </a:r>
            <a:r>
              <a:rPr lang="de-DE" altLang="de-DE" sz="2800">
                <a:solidFill>
                  <a:srgbClr val="414141"/>
                </a:solidFill>
                <a:sym typeface="Wingdings" pitchFamily="2" charset="2"/>
              </a:rPr>
              <a:t> +6,2%</a:t>
            </a:r>
          </a:p>
          <a:p>
            <a:pPr>
              <a:buFont typeface="Wingdings" pitchFamily="2" charset="2"/>
              <a:buChar char="§"/>
            </a:pPr>
            <a:r>
              <a:rPr lang="de-DE" altLang="de-DE" sz="2800">
                <a:solidFill>
                  <a:srgbClr val="414141"/>
                </a:solidFill>
                <a:sym typeface="Wingdings" pitchFamily="2" charset="2"/>
              </a:rPr>
              <a:t>19,9 Milliarden Euro  +8,3%</a:t>
            </a:r>
            <a:endParaRPr lang="de-DE" altLang="de-DE" sz="2800">
              <a:solidFill>
                <a:srgbClr val="414141"/>
              </a:solidFill>
            </a:endParaRPr>
          </a:p>
          <a:p>
            <a:endParaRPr lang="de-DE" altLang="de-DE" sz="280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02403"/>
                                        </p:tgtEl>
                                        <p:attrNameLst>
                                          <p:attrName>style.visibility</p:attrName>
                                        </p:attrNameLst>
                                      </p:cBhvr>
                                      <p:to>
                                        <p:strVal val="visible"/>
                                      </p:to>
                                    </p:set>
                                    <p:animEffect transition="in" filter="blinds(horizontal)">
                                      <p:cBhvr>
                                        <p:cTn id="7" dur="500"/>
                                        <p:tgtEl>
                                          <p:spTgt spid="10240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02404">
                                            <p:txEl>
                                              <p:pRg st="0" end="0"/>
                                            </p:txEl>
                                          </p:spTgt>
                                        </p:tgtEl>
                                        <p:attrNameLst>
                                          <p:attrName>style.visibility</p:attrName>
                                        </p:attrNameLst>
                                      </p:cBhvr>
                                      <p:to>
                                        <p:strVal val="visible"/>
                                      </p:to>
                                    </p:set>
                                    <p:animEffect transition="in" filter="blinds(horizontal)">
                                      <p:cBhvr>
                                        <p:cTn id="12" dur="500"/>
                                        <p:tgtEl>
                                          <p:spTgt spid="102404">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02404">
                                            <p:txEl>
                                              <p:pRg st="1" end="1"/>
                                            </p:txEl>
                                          </p:spTgt>
                                        </p:tgtEl>
                                        <p:attrNameLst>
                                          <p:attrName>style.visibility</p:attrName>
                                        </p:attrNameLst>
                                      </p:cBhvr>
                                      <p:to>
                                        <p:strVal val="visible"/>
                                      </p:to>
                                    </p:set>
                                    <p:animEffect transition="in" filter="blinds(horizontal)">
                                      <p:cBhvr>
                                        <p:cTn id="17" dur="500"/>
                                        <p:tgtEl>
                                          <p:spTgt spid="102404">
                                            <p:txEl>
                                              <p:pRg st="1" end="1"/>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02404">
                                            <p:txEl>
                                              <p:pRg st="2" end="2"/>
                                            </p:txEl>
                                          </p:spTgt>
                                        </p:tgtEl>
                                        <p:attrNameLst>
                                          <p:attrName>style.visibility</p:attrName>
                                        </p:attrNameLst>
                                      </p:cBhvr>
                                      <p:to>
                                        <p:strVal val="visible"/>
                                      </p:to>
                                    </p:set>
                                    <p:animEffect transition="in" filter="blinds(horizontal)">
                                      <p:cBhvr>
                                        <p:cTn id="22" dur="500"/>
                                        <p:tgtEl>
                                          <p:spTgt spid="10240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03" grpId="0" bldLvl="2"/>
      <p:bldP spid="102404"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ußzeilenplatzhalter 3">
            <a:extLst>
              <a:ext uri="{FF2B5EF4-FFF2-40B4-BE49-F238E27FC236}">
                <a16:creationId xmlns:a16="http://schemas.microsoft.com/office/drawing/2014/main" id="{91D8FD64-688F-134A-A4F1-EBD6DF3F3270}"/>
              </a:ext>
            </a:extLst>
          </p:cNvPr>
          <p:cNvSpPr>
            <a:spLocks noGrp="1"/>
          </p:cNvSpPr>
          <p:nvPr>
            <p:ph type="ftr" sz="quarter" idx="10"/>
          </p:nvPr>
        </p:nvSpPr>
        <p:spPr/>
        <p:txBody>
          <a:bodyPr/>
          <a:lstStyle/>
          <a:p>
            <a:r>
              <a:rPr lang="de-DE" altLang="de-DE"/>
              <a:t>Studienanfängerhoch und Mobilität | Detlef Müller-Böling | 27.08.2007</a:t>
            </a:r>
          </a:p>
        </p:txBody>
      </p:sp>
      <p:sp>
        <p:nvSpPr>
          <p:cNvPr id="7" name="Foliennummernplatzhalter 4">
            <a:extLst>
              <a:ext uri="{FF2B5EF4-FFF2-40B4-BE49-F238E27FC236}">
                <a16:creationId xmlns:a16="http://schemas.microsoft.com/office/drawing/2014/main" id="{AE49505D-9DC5-CD4E-8C36-42E6CEB01CFF}"/>
              </a:ext>
            </a:extLst>
          </p:cNvPr>
          <p:cNvSpPr>
            <a:spLocks noGrp="1"/>
          </p:cNvSpPr>
          <p:nvPr>
            <p:ph type="sldNum" sz="quarter" idx="11"/>
          </p:nvPr>
        </p:nvSpPr>
        <p:spPr/>
        <p:txBody>
          <a:bodyPr/>
          <a:lstStyle/>
          <a:p>
            <a:fld id="{E0EA4415-2712-034F-A39B-8BD886B237E4}" type="slidenum">
              <a:rPr lang="de-DE" altLang="de-DE"/>
              <a:pPr/>
              <a:t>12</a:t>
            </a:fld>
            <a:endParaRPr lang="de-DE" altLang="de-DE"/>
          </a:p>
        </p:txBody>
      </p:sp>
      <p:sp>
        <p:nvSpPr>
          <p:cNvPr id="128002" name="Rectangle 2">
            <a:extLst>
              <a:ext uri="{FF2B5EF4-FFF2-40B4-BE49-F238E27FC236}">
                <a16:creationId xmlns:a16="http://schemas.microsoft.com/office/drawing/2014/main" id="{7DCB0267-8D1A-0F43-A231-38D83868D1D9}"/>
              </a:ext>
            </a:extLst>
          </p:cNvPr>
          <p:cNvSpPr>
            <a:spLocks noGrp="1" noChangeArrowheads="1"/>
          </p:cNvSpPr>
          <p:nvPr>
            <p:ph type="title"/>
          </p:nvPr>
        </p:nvSpPr>
        <p:spPr/>
        <p:txBody>
          <a:bodyPr/>
          <a:lstStyle/>
          <a:p>
            <a:r>
              <a:rPr lang="de-DE" altLang="de-DE"/>
              <a:t>Gliederung</a:t>
            </a:r>
          </a:p>
        </p:txBody>
      </p:sp>
      <p:sp>
        <p:nvSpPr>
          <p:cNvPr id="128003" name="Rectangle 3">
            <a:extLst>
              <a:ext uri="{FF2B5EF4-FFF2-40B4-BE49-F238E27FC236}">
                <a16:creationId xmlns:a16="http://schemas.microsoft.com/office/drawing/2014/main" id="{6B147DAC-8EB1-EE42-B525-B1545EE01C3C}"/>
              </a:ext>
            </a:extLst>
          </p:cNvPr>
          <p:cNvSpPr>
            <a:spLocks noGrp="1" noChangeArrowheads="1"/>
          </p:cNvSpPr>
          <p:nvPr>
            <p:ph type="body" idx="1"/>
          </p:nvPr>
        </p:nvSpPr>
        <p:spPr>
          <a:xfrm>
            <a:off x="2268538" y="1639888"/>
            <a:ext cx="6418262" cy="4525962"/>
          </a:xfrm>
        </p:spPr>
        <p:txBody>
          <a:bodyPr/>
          <a:lstStyle/>
          <a:p>
            <a:r>
              <a:rPr lang="de-DE" altLang="de-DE"/>
              <a:t>Entwicklung Studienanfänger</a:t>
            </a:r>
            <a:br>
              <a:rPr lang="de-DE" altLang="de-DE"/>
            </a:br>
            <a:endParaRPr lang="de-DE" altLang="de-DE"/>
          </a:p>
          <a:p>
            <a:r>
              <a:rPr lang="de-DE" altLang="de-DE"/>
              <a:t>Mobilität</a:t>
            </a:r>
            <a:br>
              <a:rPr lang="de-DE" altLang="de-DE"/>
            </a:br>
            <a:endParaRPr lang="de-DE" altLang="de-DE"/>
          </a:p>
          <a:p>
            <a:r>
              <a:rPr lang="de-DE" altLang="de-DE"/>
              <a:t>Hochschulräume</a:t>
            </a:r>
          </a:p>
        </p:txBody>
      </p:sp>
      <p:sp>
        <p:nvSpPr>
          <p:cNvPr id="128004" name="Rectangle 4">
            <a:extLst>
              <a:ext uri="{FF2B5EF4-FFF2-40B4-BE49-F238E27FC236}">
                <a16:creationId xmlns:a16="http://schemas.microsoft.com/office/drawing/2014/main" id="{8552873D-14CD-3847-84B7-9CEF679436C1}"/>
              </a:ext>
            </a:extLst>
          </p:cNvPr>
          <p:cNvSpPr>
            <a:spLocks noChangeArrowheads="1"/>
          </p:cNvSpPr>
          <p:nvPr/>
        </p:nvSpPr>
        <p:spPr bwMode="auto">
          <a:xfrm>
            <a:off x="2339975" y="1557338"/>
            <a:ext cx="5184775" cy="863600"/>
          </a:xfrm>
          <a:prstGeom prst="rect">
            <a:avLst/>
          </a:prstGeom>
          <a:solidFill>
            <a:schemeClr val="bg2">
              <a:alpha val="50000"/>
            </a:scheme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28005" name="Rectangle 5">
            <a:extLst>
              <a:ext uri="{FF2B5EF4-FFF2-40B4-BE49-F238E27FC236}">
                <a16:creationId xmlns:a16="http://schemas.microsoft.com/office/drawing/2014/main" id="{02EE1695-2A79-D646-9FE8-1EDBAED78576}"/>
              </a:ext>
            </a:extLst>
          </p:cNvPr>
          <p:cNvSpPr>
            <a:spLocks noChangeArrowheads="1"/>
          </p:cNvSpPr>
          <p:nvPr/>
        </p:nvSpPr>
        <p:spPr bwMode="auto">
          <a:xfrm>
            <a:off x="2339975" y="3286125"/>
            <a:ext cx="5184775" cy="863600"/>
          </a:xfrm>
          <a:prstGeom prst="rect">
            <a:avLst/>
          </a:prstGeom>
          <a:solidFill>
            <a:schemeClr val="bg2">
              <a:alpha val="50000"/>
            </a:scheme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128004"/>
                                        </p:tgtEl>
                                        <p:attrNameLst>
                                          <p:attrName>style.visibility</p:attrName>
                                        </p:attrNameLst>
                                      </p:cBhvr>
                                      <p:to>
                                        <p:strVal val="visible"/>
                                      </p:to>
                                    </p:set>
                                    <p:animEffect transition="in" filter="dissolve">
                                      <p:cBhvr>
                                        <p:cTn id="7" dur="500"/>
                                        <p:tgtEl>
                                          <p:spTgt spid="128004"/>
                                        </p:tgtEl>
                                      </p:cBhvr>
                                    </p:animEffect>
                                  </p:childTnLst>
                                </p:cTn>
                              </p:par>
                              <p:par>
                                <p:cTn id="8" presetID="9" presetClass="entr" presetSubtype="0" fill="hold" nodeType="withEffect">
                                  <p:stCondLst>
                                    <p:cond delay="0"/>
                                  </p:stCondLst>
                                  <p:childTnLst>
                                    <p:set>
                                      <p:cBhvr>
                                        <p:cTn id="9" dur="1" fill="hold">
                                          <p:stCondLst>
                                            <p:cond delay="0"/>
                                          </p:stCondLst>
                                        </p:cTn>
                                        <p:tgtEl>
                                          <p:spTgt spid="128005"/>
                                        </p:tgtEl>
                                        <p:attrNameLst>
                                          <p:attrName>style.visibility</p:attrName>
                                        </p:attrNameLst>
                                      </p:cBhvr>
                                      <p:to>
                                        <p:strVal val="visible"/>
                                      </p:to>
                                    </p:set>
                                    <p:animEffect transition="in" filter="dissolve">
                                      <p:cBhvr>
                                        <p:cTn id="10" dur="500"/>
                                        <p:tgtEl>
                                          <p:spTgt spid="1280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ußzeilenplatzhalter 3">
            <a:extLst>
              <a:ext uri="{FF2B5EF4-FFF2-40B4-BE49-F238E27FC236}">
                <a16:creationId xmlns:a16="http://schemas.microsoft.com/office/drawing/2014/main" id="{F8666FDA-0B0C-FB4B-89A9-36625568A213}"/>
              </a:ext>
            </a:extLst>
          </p:cNvPr>
          <p:cNvSpPr>
            <a:spLocks noGrp="1"/>
          </p:cNvSpPr>
          <p:nvPr>
            <p:ph type="ftr" sz="quarter" idx="10"/>
          </p:nvPr>
        </p:nvSpPr>
        <p:spPr/>
        <p:txBody>
          <a:bodyPr/>
          <a:lstStyle/>
          <a:p>
            <a:r>
              <a:rPr lang="de-DE" altLang="de-DE"/>
              <a:t>Studienanfängerhoch und Mobilität | Detlef Müller-Böling | 27.08.2007</a:t>
            </a:r>
          </a:p>
        </p:txBody>
      </p:sp>
      <p:sp>
        <p:nvSpPr>
          <p:cNvPr id="7" name="Foliennummernplatzhalter 4">
            <a:extLst>
              <a:ext uri="{FF2B5EF4-FFF2-40B4-BE49-F238E27FC236}">
                <a16:creationId xmlns:a16="http://schemas.microsoft.com/office/drawing/2014/main" id="{F18CA29D-B268-214B-B1D6-70284263C7A7}"/>
              </a:ext>
            </a:extLst>
          </p:cNvPr>
          <p:cNvSpPr>
            <a:spLocks noGrp="1"/>
          </p:cNvSpPr>
          <p:nvPr>
            <p:ph type="sldNum" sz="quarter" idx="11"/>
          </p:nvPr>
        </p:nvSpPr>
        <p:spPr/>
        <p:txBody>
          <a:bodyPr/>
          <a:lstStyle/>
          <a:p>
            <a:fld id="{A3C5FE9A-7BB3-2647-B7CA-C07BC9592B44}" type="slidenum">
              <a:rPr lang="de-DE" altLang="de-DE"/>
              <a:pPr/>
              <a:t>13</a:t>
            </a:fld>
            <a:endParaRPr lang="de-DE" altLang="de-DE"/>
          </a:p>
        </p:txBody>
      </p:sp>
      <p:sp>
        <p:nvSpPr>
          <p:cNvPr id="66562" name="Rectangle 2">
            <a:extLst>
              <a:ext uri="{FF2B5EF4-FFF2-40B4-BE49-F238E27FC236}">
                <a16:creationId xmlns:a16="http://schemas.microsoft.com/office/drawing/2014/main" id="{3E9DCDBC-19B9-3F45-A7A5-CD6E6051D7D6}"/>
              </a:ext>
            </a:extLst>
          </p:cNvPr>
          <p:cNvSpPr>
            <a:spLocks noGrp="1" noChangeArrowheads="1"/>
          </p:cNvSpPr>
          <p:nvPr>
            <p:ph type="title"/>
          </p:nvPr>
        </p:nvSpPr>
        <p:spPr/>
        <p:txBody>
          <a:bodyPr/>
          <a:lstStyle/>
          <a:p>
            <a:r>
              <a:rPr lang="de-DE" altLang="de-DE"/>
              <a:t>Der demographische Vektor</a:t>
            </a:r>
          </a:p>
        </p:txBody>
      </p:sp>
      <p:graphicFrame>
        <p:nvGraphicFramePr>
          <p:cNvPr id="66564" name="Object 4">
            <a:extLst>
              <a:ext uri="{FF2B5EF4-FFF2-40B4-BE49-F238E27FC236}">
                <a16:creationId xmlns:a16="http://schemas.microsoft.com/office/drawing/2014/main" id="{2C1D98EB-A9B7-AB43-A363-5CF5E9A69720}"/>
              </a:ext>
            </a:extLst>
          </p:cNvPr>
          <p:cNvGraphicFramePr>
            <a:graphicFrameLocks noChangeAspect="1"/>
          </p:cNvGraphicFramePr>
          <p:nvPr/>
        </p:nvGraphicFramePr>
        <p:xfrm>
          <a:off x="1835150" y="1074738"/>
          <a:ext cx="6265863" cy="5068887"/>
        </p:xfrm>
        <a:graphic>
          <a:graphicData uri="http://schemas.openxmlformats.org/presentationml/2006/ole">
            <mc:AlternateContent xmlns:mc="http://schemas.openxmlformats.org/markup-compatibility/2006">
              <mc:Choice xmlns:v="urn:schemas-microsoft-com:vml" Requires="v">
                <p:oleObj spid="_x0000_s66567" name="Diagramm" r:id="rId4" imgW="4495800" imgH="3492500" progId="Excel.Chart.8">
                  <p:embed/>
                </p:oleObj>
              </mc:Choice>
              <mc:Fallback>
                <p:oleObj name="Diagramm" r:id="rId4" imgW="4495800" imgH="3492500" progId="Excel.Chart.8">
                  <p:embed/>
                  <p:pic>
                    <p:nvPicPr>
                      <p:cNvPr id="0" name="Object 4"/>
                      <p:cNvPicPr>
                        <a:picLocks noRot="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35150" y="1074738"/>
                        <a:ext cx="6265863" cy="5068887"/>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
                            <a:solidFill>
                              <a:srgbClr val="FFFFFF"/>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6565" name="Line 5">
            <a:extLst>
              <a:ext uri="{FF2B5EF4-FFF2-40B4-BE49-F238E27FC236}">
                <a16:creationId xmlns:a16="http://schemas.microsoft.com/office/drawing/2014/main" id="{28A8F950-73E3-4246-81EC-6B6242591AFF}"/>
              </a:ext>
            </a:extLst>
          </p:cNvPr>
          <p:cNvSpPr>
            <a:spLocks noChangeShapeType="1"/>
          </p:cNvSpPr>
          <p:nvPr/>
        </p:nvSpPr>
        <p:spPr bwMode="auto">
          <a:xfrm>
            <a:off x="3059113" y="2060575"/>
            <a:ext cx="4681537" cy="3097213"/>
          </a:xfrm>
          <a:prstGeom prst="line">
            <a:avLst/>
          </a:prstGeom>
          <a:noFill/>
          <a:ln w="12700">
            <a:solidFill>
              <a:srgbClr val="FF0000"/>
            </a:solidFill>
            <a:round/>
            <a:headEnd/>
            <a:tailEnd type="triangle" w="lg" len="lg"/>
          </a:ln>
          <a:extLst>
            <a:ext uri="{909E8E84-426E-40DD-AFC4-6F175D3DCCD1}">
              <a14:hiddenFill xmlns:a14="http://schemas.microsoft.com/office/drawing/2010/main">
                <a:noFill/>
              </a14:hiddenFill>
            </a:ext>
          </a:extLst>
        </p:spPr>
        <p:txBody>
          <a:bodyPr/>
          <a:lstStyle/>
          <a:p>
            <a:endParaRPr lang="de-DE"/>
          </a:p>
        </p:txBody>
      </p:sp>
      <p:sp>
        <p:nvSpPr>
          <p:cNvPr id="66566" name="Oval 6">
            <a:extLst>
              <a:ext uri="{FF2B5EF4-FFF2-40B4-BE49-F238E27FC236}">
                <a16:creationId xmlns:a16="http://schemas.microsoft.com/office/drawing/2014/main" id="{F3D56369-8BE0-2043-A12A-DB0207591B54}"/>
              </a:ext>
            </a:extLst>
          </p:cNvPr>
          <p:cNvSpPr>
            <a:spLocks noChangeArrowheads="1"/>
          </p:cNvSpPr>
          <p:nvPr/>
        </p:nvSpPr>
        <p:spPr bwMode="auto">
          <a:xfrm>
            <a:off x="6011863" y="4005263"/>
            <a:ext cx="2016125" cy="1008062"/>
          </a:xfrm>
          <a:prstGeom prst="ellipse">
            <a:avLst/>
          </a:prstGeom>
          <a:noFill/>
          <a:ln w="25400">
            <a:solidFill>
              <a:srgbClr val="00FFFF"/>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9" fill="hold" nodeType="clickEffect">
                                  <p:stCondLst>
                                    <p:cond delay="0"/>
                                  </p:stCondLst>
                                  <p:childTnLst>
                                    <p:set>
                                      <p:cBhvr>
                                        <p:cTn id="6" dur="1" fill="hold">
                                          <p:stCondLst>
                                            <p:cond delay="0"/>
                                          </p:stCondLst>
                                        </p:cTn>
                                        <p:tgtEl>
                                          <p:spTgt spid="66565"/>
                                        </p:tgtEl>
                                        <p:attrNameLst>
                                          <p:attrName>style.visibility</p:attrName>
                                        </p:attrNameLst>
                                      </p:cBhvr>
                                      <p:to>
                                        <p:strVal val="visible"/>
                                      </p:to>
                                    </p:set>
                                    <p:anim calcmode="lin" valueType="num">
                                      <p:cBhvr additive="base">
                                        <p:cTn id="7" dur="500" fill="hold"/>
                                        <p:tgtEl>
                                          <p:spTgt spid="66565"/>
                                        </p:tgtEl>
                                        <p:attrNameLst>
                                          <p:attrName>ppt_x</p:attrName>
                                        </p:attrNameLst>
                                      </p:cBhvr>
                                      <p:tavLst>
                                        <p:tav tm="0">
                                          <p:val>
                                            <p:strVal val="0-#ppt_w/2"/>
                                          </p:val>
                                        </p:tav>
                                        <p:tav tm="100000">
                                          <p:val>
                                            <p:strVal val="#ppt_x"/>
                                          </p:val>
                                        </p:tav>
                                      </p:tavLst>
                                    </p:anim>
                                    <p:anim calcmode="lin" valueType="num">
                                      <p:cBhvr additive="base">
                                        <p:cTn id="8" dur="500" fill="hold"/>
                                        <p:tgtEl>
                                          <p:spTgt spid="66565"/>
                                        </p:tgtEl>
                                        <p:attrNameLst>
                                          <p:attrName>ppt_y</p:attrName>
                                        </p:attrNameLst>
                                      </p:cBhvr>
                                      <p:tavLst>
                                        <p:tav tm="0">
                                          <p:val>
                                            <p:strVal val="0-#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3" presetClass="entr" presetSubtype="10" fill="hold" nodeType="clickEffect">
                                  <p:stCondLst>
                                    <p:cond delay="0"/>
                                  </p:stCondLst>
                                  <p:childTnLst>
                                    <p:set>
                                      <p:cBhvr>
                                        <p:cTn id="12" dur="1" fill="hold">
                                          <p:stCondLst>
                                            <p:cond delay="0"/>
                                          </p:stCondLst>
                                        </p:cTn>
                                        <p:tgtEl>
                                          <p:spTgt spid="66566"/>
                                        </p:tgtEl>
                                        <p:attrNameLst>
                                          <p:attrName>style.visibility</p:attrName>
                                        </p:attrNameLst>
                                      </p:cBhvr>
                                      <p:to>
                                        <p:strVal val="visible"/>
                                      </p:to>
                                    </p:set>
                                    <p:animEffect transition="in" filter="blinds(horizontal)">
                                      <p:cBhvr>
                                        <p:cTn id="13" dur="500"/>
                                        <p:tgtEl>
                                          <p:spTgt spid="665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Fußzeilenplatzhalter 3">
            <a:extLst>
              <a:ext uri="{FF2B5EF4-FFF2-40B4-BE49-F238E27FC236}">
                <a16:creationId xmlns:a16="http://schemas.microsoft.com/office/drawing/2014/main" id="{94BA6129-0809-2049-83FA-BC0F36317522}"/>
              </a:ext>
            </a:extLst>
          </p:cNvPr>
          <p:cNvSpPr>
            <a:spLocks noGrp="1"/>
          </p:cNvSpPr>
          <p:nvPr>
            <p:ph type="ftr" sz="quarter" idx="10"/>
          </p:nvPr>
        </p:nvSpPr>
        <p:spPr/>
        <p:txBody>
          <a:bodyPr/>
          <a:lstStyle/>
          <a:p>
            <a:r>
              <a:rPr lang="de-DE" altLang="de-DE"/>
              <a:t>Studienanfängerhoch und Mobilität | Detlef Müller-Böling | 27.08.2007</a:t>
            </a:r>
          </a:p>
        </p:txBody>
      </p:sp>
      <p:sp>
        <p:nvSpPr>
          <p:cNvPr id="44" name="Foliennummernplatzhalter 4">
            <a:extLst>
              <a:ext uri="{FF2B5EF4-FFF2-40B4-BE49-F238E27FC236}">
                <a16:creationId xmlns:a16="http://schemas.microsoft.com/office/drawing/2014/main" id="{391F8485-8F20-ED44-B133-BCF0451E4F71}"/>
              </a:ext>
            </a:extLst>
          </p:cNvPr>
          <p:cNvSpPr>
            <a:spLocks noGrp="1"/>
          </p:cNvSpPr>
          <p:nvPr>
            <p:ph type="sldNum" sz="quarter" idx="11"/>
          </p:nvPr>
        </p:nvSpPr>
        <p:spPr/>
        <p:txBody>
          <a:bodyPr/>
          <a:lstStyle/>
          <a:p>
            <a:fld id="{5E300B56-37B7-7241-B3D6-4C2902E8818C}" type="slidenum">
              <a:rPr lang="de-DE" altLang="de-DE"/>
              <a:pPr/>
              <a:t>14</a:t>
            </a:fld>
            <a:endParaRPr lang="de-DE" altLang="de-DE"/>
          </a:p>
        </p:txBody>
      </p:sp>
      <p:sp>
        <p:nvSpPr>
          <p:cNvPr id="89090" name="Rectangle 2">
            <a:extLst>
              <a:ext uri="{FF2B5EF4-FFF2-40B4-BE49-F238E27FC236}">
                <a16:creationId xmlns:a16="http://schemas.microsoft.com/office/drawing/2014/main" id="{C6F0C661-260B-534F-96FE-060A396C5755}"/>
              </a:ext>
            </a:extLst>
          </p:cNvPr>
          <p:cNvSpPr>
            <a:spLocks noGrp="1" noChangeArrowheads="1"/>
          </p:cNvSpPr>
          <p:nvPr>
            <p:ph type="title"/>
          </p:nvPr>
        </p:nvSpPr>
        <p:spPr/>
        <p:txBody>
          <a:bodyPr/>
          <a:lstStyle/>
          <a:p>
            <a:r>
              <a:rPr lang="de-DE" altLang="de-DE"/>
              <a:t>Innerdeutsche Mobilität</a:t>
            </a:r>
          </a:p>
        </p:txBody>
      </p:sp>
      <p:grpSp>
        <p:nvGrpSpPr>
          <p:cNvPr id="89093" name="Group 5">
            <a:extLst>
              <a:ext uri="{FF2B5EF4-FFF2-40B4-BE49-F238E27FC236}">
                <a16:creationId xmlns:a16="http://schemas.microsoft.com/office/drawing/2014/main" id="{44D5E6DE-7414-1744-B4D1-FA650801EBC2}"/>
              </a:ext>
            </a:extLst>
          </p:cNvPr>
          <p:cNvGrpSpPr>
            <a:grpSpLocks/>
          </p:cNvGrpSpPr>
          <p:nvPr/>
        </p:nvGrpSpPr>
        <p:grpSpPr bwMode="auto">
          <a:xfrm>
            <a:off x="4643438" y="4724400"/>
            <a:ext cx="2881312" cy="612775"/>
            <a:chOff x="3787" y="2795"/>
            <a:chExt cx="1815" cy="386"/>
          </a:xfrm>
        </p:grpSpPr>
        <p:sp>
          <p:nvSpPr>
            <p:cNvPr id="89094" name="Text Box 6">
              <a:extLst>
                <a:ext uri="{FF2B5EF4-FFF2-40B4-BE49-F238E27FC236}">
                  <a16:creationId xmlns:a16="http://schemas.microsoft.com/office/drawing/2014/main" id="{921DF997-2D67-F644-99E8-DF5402FE1286}"/>
                </a:ext>
              </a:extLst>
            </p:cNvPr>
            <p:cNvSpPr txBox="1">
              <a:spLocks noChangeArrowheads="1"/>
            </p:cNvSpPr>
            <p:nvPr>
              <p:custDataLst>
                <p:tags r:id="rId1"/>
              </p:custDataLst>
            </p:nvPr>
          </p:nvSpPr>
          <p:spPr bwMode="auto">
            <a:xfrm>
              <a:off x="3928" y="2989"/>
              <a:ext cx="1583" cy="192"/>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40000"/>
                </a:spcBef>
              </a:pPr>
              <a:r>
                <a:rPr lang="de-DE" altLang="de-DE" sz="1400" b="1">
                  <a:solidFill>
                    <a:schemeClr val="bg2"/>
                  </a:solidFill>
                  <a:cs typeface="Arial" panose="020B0604020202020204" pitchFamily="34" charset="0"/>
                </a:rPr>
                <a:t>fehlende Studienplätze</a:t>
              </a:r>
            </a:p>
          </p:txBody>
        </p:sp>
        <p:sp>
          <p:nvSpPr>
            <p:cNvPr id="89095" name="Rectangle 7">
              <a:extLst>
                <a:ext uri="{FF2B5EF4-FFF2-40B4-BE49-F238E27FC236}">
                  <a16:creationId xmlns:a16="http://schemas.microsoft.com/office/drawing/2014/main" id="{A7165F72-17BC-9043-83D9-153839F4FB01}"/>
                </a:ext>
              </a:extLst>
            </p:cNvPr>
            <p:cNvSpPr>
              <a:spLocks noChangeArrowheads="1"/>
            </p:cNvSpPr>
            <p:nvPr>
              <p:custDataLst>
                <p:tags r:id="rId2"/>
              </p:custDataLst>
            </p:nvPr>
          </p:nvSpPr>
          <p:spPr bwMode="auto">
            <a:xfrm>
              <a:off x="3787" y="3026"/>
              <a:ext cx="122" cy="123"/>
            </a:xfrm>
            <a:prstGeom prst="rect">
              <a:avLst/>
            </a:prstGeom>
            <a:solidFill>
              <a:srgbClr val="FF5050"/>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89096" name="Rectangle 8">
              <a:extLst>
                <a:ext uri="{FF2B5EF4-FFF2-40B4-BE49-F238E27FC236}">
                  <a16:creationId xmlns:a16="http://schemas.microsoft.com/office/drawing/2014/main" id="{0810590E-7D95-DA41-9831-F0D540A9E486}"/>
                </a:ext>
              </a:extLst>
            </p:cNvPr>
            <p:cNvSpPr>
              <a:spLocks noChangeArrowheads="1"/>
            </p:cNvSpPr>
            <p:nvPr>
              <p:custDataLst>
                <p:tags r:id="rId3"/>
              </p:custDataLst>
            </p:nvPr>
          </p:nvSpPr>
          <p:spPr bwMode="auto">
            <a:xfrm>
              <a:off x="3787" y="2832"/>
              <a:ext cx="122" cy="123"/>
            </a:xfrm>
            <a:prstGeom prst="rect">
              <a:avLst/>
            </a:prstGeom>
            <a:solidFill>
              <a:schemeClr val="folHlink"/>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89097" name="Text Box 9">
              <a:extLst>
                <a:ext uri="{FF2B5EF4-FFF2-40B4-BE49-F238E27FC236}">
                  <a16:creationId xmlns:a16="http://schemas.microsoft.com/office/drawing/2014/main" id="{39CFD7D6-7C72-1B43-811F-7A162F0DBFC1}"/>
                </a:ext>
              </a:extLst>
            </p:cNvPr>
            <p:cNvSpPr txBox="1">
              <a:spLocks noChangeArrowheads="1"/>
            </p:cNvSpPr>
            <p:nvPr>
              <p:custDataLst>
                <p:tags r:id="rId4"/>
              </p:custDataLst>
            </p:nvPr>
          </p:nvSpPr>
          <p:spPr bwMode="auto">
            <a:xfrm>
              <a:off x="3928" y="2795"/>
              <a:ext cx="1674" cy="192"/>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40000"/>
                </a:spcBef>
              </a:pPr>
              <a:r>
                <a:rPr lang="de-DE" altLang="de-DE" sz="1400" b="1">
                  <a:solidFill>
                    <a:schemeClr val="bg2"/>
                  </a:solidFill>
                  <a:cs typeface="Arial" panose="020B0604020202020204" pitchFamily="34" charset="0"/>
                </a:rPr>
                <a:t>freie Studienplätze</a:t>
              </a:r>
              <a:endParaRPr lang="de-DE" altLang="de-DE" sz="1400" b="1">
                <a:cs typeface="Arial" panose="020B0604020202020204" pitchFamily="34" charset="0"/>
              </a:endParaRPr>
            </a:p>
          </p:txBody>
        </p:sp>
      </p:grpSp>
      <p:grpSp>
        <p:nvGrpSpPr>
          <p:cNvPr id="89099" name="Group 11">
            <a:extLst>
              <a:ext uri="{FF2B5EF4-FFF2-40B4-BE49-F238E27FC236}">
                <a16:creationId xmlns:a16="http://schemas.microsoft.com/office/drawing/2014/main" id="{80C9F375-F212-7F4C-99C4-597A3E97A8D0}"/>
              </a:ext>
            </a:extLst>
          </p:cNvPr>
          <p:cNvGrpSpPr>
            <a:grpSpLocks/>
          </p:cNvGrpSpPr>
          <p:nvPr/>
        </p:nvGrpSpPr>
        <p:grpSpPr bwMode="auto">
          <a:xfrm>
            <a:off x="1116013" y="981075"/>
            <a:ext cx="3484562" cy="4718050"/>
            <a:chOff x="703" y="618"/>
            <a:chExt cx="2195" cy="2972"/>
          </a:xfrm>
        </p:grpSpPr>
        <p:sp>
          <p:nvSpPr>
            <p:cNvPr id="89100" name="Freeform 12">
              <a:extLst>
                <a:ext uri="{FF2B5EF4-FFF2-40B4-BE49-F238E27FC236}">
                  <a16:creationId xmlns:a16="http://schemas.microsoft.com/office/drawing/2014/main" id="{EEE22414-F9BF-054D-BB4D-1D00FE5B783B}"/>
                </a:ext>
              </a:extLst>
            </p:cNvPr>
            <p:cNvSpPr>
              <a:spLocks noEditPoints="1"/>
            </p:cNvSpPr>
            <p:nvPr/>
          </p:nvSpPr>
          <p:spPr bwMode="auto">
            <a:xfrm>
              <a:off x="1231" y="618"/>
              <a:ext cx="766" cy="653"/>
            </a:xfrm>
            <a:custGeom>
              <a:avLst/>
              <a:gdLst>
                <a:gd name="T0" fmla="*/ 1601 w 2022"/>
                <a:gd name="T1" fmla="*/ 732 h 1722"/>
                <a:gd name="T2" fmla="*/ 1355 w 2022"/>
                <a:gd name="T3" fmla="*/ 643 h 1722"/>
                <a:gd name="T4" fmla="*/ 1240 w 2022"/>
                <a:gd name="T5" fmla="*/ 344 h 1722"/>
                <a:gd name="T6" fmla="*/ 921 w 2022"/>
                <a:gd name="T7" fmla="*/ 270 h 1722"/>
                <a:gd name="T8" fmla="*/ 525 w 2022"/>
                <a:gd name="T9" fmla="*/ 172 h 1722"/>
                <a:gd name="T10" fmla="*/ 553 w 2022"/>
                <a:gd name="T11" fmla="*/ 484 h 1722"/>
                <a:gd name="T12" fmla="*/ 644 w 2022"/>
                <a:gd name="T13" fmla="*/ 578 h 1722"/>
                <a:gd name="T14" fmla="*/ 459 w 2022"/>
                <a:gd name="T15" fmla="*/ 720 h 1722"/>
                <a:gd name="T16" fmla="*/ 618 w 2022"/>
                <a:gd name="T17" fmla="*/ 990 h 1722"/>
                <a:gd name="T18" fmla="*/ 779 w 2022"/>
                <a:gd name="T19" fmla="*/ 1184 h 1722"/>
                <a:gd name="T20" fmla="*/ 1106 w 2022"/>
                <a:gd name="T21" fmla="*/ 1451 h 1722"/>
                <a:gd name="T22" fmla="*/ 1258 w 2022"/>
                <a:gd name="T23" fmla="*/ 1431 h 1722"/>
                <a:gd name="T24" fmla="*/ 1356 w 2022"/>
                <a:gd name="T25" fmla="*/ 1347 h 1722"/>
                <a:gd name="T26" fmla="*/ 1379 w 2022"/>
                <a:gd name="T27" fmla="*/ 1450 h 1722"/>
                <a:gd name="T28" fmla="*/ 1332 w 2022"/>
                <a:gd name="T29" fmla="*/ 1556 h 1722"/>
                <a:gd name="T30" fmla="*/ 1460 w 2022"/>
                <a:gd name="T31" fmla="*/ 1619 h 1722"/>
                <a:gd name="T32" fmla="*/ 1543 w 2022"/>
                <a:gd name="T33" fmla="*/ 1702 h 1722"/>
                <a:gd name="T34" fmla="*/ 1738 w 2022"/>
                <a:gd name="T35" fmla="*/ 1511 h 1722"/>
                <a:gd name="T36" fmla="*/ 1700 w 2022"/>
                <a:gd name="T37" fmla="*/ 1337 h 1722"/>
                <a:gd name="T38" fmla="*/ 1614 w 2022"/>
                <a:gd name="T39" fmla="*/ 1298 h 1722"/>
                <a:gd name="T40" fmla="*/ 1836 w 2022"/>
                <a:gd name="T41" fmla="*/ 935 h 1722"/>
                <a:gd name="T42" fmla="*/ 1827 w 2022"/>
                <a:gd name="T43" fmla="*/ 737 h 1722"/>
                <a:gd name="T44" fmla="*/ 385 w 2022"/>
                <a:gd name="T45" fmla="*/ 419 h 1722"/>
                <a:gd name="T46" fmla="*/ 297 w 2022"/>
                <a:gd name="T47" fmla="*/ 453 h 1722"/>
                <a:gd name="T48" fmla="*/ 39 w 2022"/>
                <a:gd name="T49" fmla="*/ 879 h 1722"/>
                <a:gd name="T50" fmla="*/ 12 w 2022"/>
                <a:gd name="T51" fmla="*/ 849 h 1722"/>
                <a:gd name="T52" fmla="*/ 497 w 2022"/>
                <a:gd name="T53" fmla="*/ 441 h 1722"/>
                <a:gd name="T54" fmla="*/ 2022 w 2022"/>
                <a:gd name="T55" fmla="*/ 704 h 1722"/>
                <a:gd name="T56" fmla="*/ 457 w 2022"/>
                <a:gd name="T57" fmla="*/ 558 h 1722"/>
                <a:gd name="T58" fmla="*/ 481 w 2022"/>
                <a:gd name="T59" fmla="*/ 605 h 1722"/>
                <a:gd name="T60" fmla="*/ 356 w 2022"/>
                <a:gd name="T61" fmla="*/ 195 h 1722"/>
                <a:gd name="T62" fmla="*/ 290 w 2022"/>
                <a:gd name="T63" fmla="*/ 95 h 1722"/>
                <a:gd name="T64" fmla="*/ 331 w 2022"/>
                <a:gd name="T65" fmla="*/ 23 h 1722"/>
                <a:gd name="T66" fmla="*/ 337 w 2022"/>
                <a:gd name="T67" fmla="*/ 1 h 1722"/>
                <a:gd name="T68" fmla="*/ 237 w 2022"/>
                <a:gd name="T69" fmla="*/ 217 h 1722"/>
                <a:gd name="T70" fmla="*/ 246 w 2022"/>
                <a:gd name="T71" fmla="*/ 328 h 1722"/>
                <a:gd name="T72" fmla="*/ 249 w 2022"/>
                <a:gd name="T73" fmla="*/ 252 h 1722"/>
                <a:gd name="T74" fmla="*/ 279 w 2022"/>
                <a:gd name="T75" fmla="*/ 186 h 1722"/>
                <a:gd name="T76" fmla="*/ 380 w 2022"/>
                <a:gd name="T77" fmla="*/ 598 h 1722"/>
                <a:gd name="T78" fmla="*/ 401 w 2022"/>
                <a:gd name="T79" fmla="*/ 484 h 1722"/>
                <a:gd name="T80" fmla="*/ 401 w 2022"/>
                <a:gd name="T81" fmla="*/ 484 h 1722"/>
                <a:gd name="T82" fmla="*/ 492 w 2022"/>
                <a:gd name="T83" fmla="*/ 998 h 1722"/>
                <a:gd name="T84" fmla="*/ 541 w 2022"/>
                <a:gd name="T85" fmla="*/ 527 h 1722"/>
                <a:gd name="T86" fmla="*/ 342 w 2022"/>
                <a:gd name="T87" fmla="*/ 494 h 1722"/>
                <a:gd name="T88" fmla="*/ 357 w 2022"/>
                <a:gd name="T89" fmla="*/ 641 h 1722"/>
                <a:gd name="T90" fmla="*/ 302 w 2022"/>
                <a:gd name="T91" fmla="*/ 363 h 1722"/>
                <a:gd name="T92" fmla="*/ 351 w 2022"/>
                <a:gd name="T93" fmla="*/ 555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01" name="Freeform 13">
              <a:extLst>
                <a:ext uri="{FF2B5EF4-FFF2-40B4-BE49-F238E27FC236}">
                  <a16:creationId xmlns:a16="http://schemas.microsoft.com/office/drawing/2014/main" id="{20DBE336-10D0-6144-9555-9D1A9C5728AC}"/>
                </a:ext>
              </a:extLst>
            </p:cNvPr>
            <p:cNvSpPr>
              <a:spLocks noEditPoints="1"/>
            </p:cNvSpPr>
            <p:nvPr/>
          </p:nvSpPr>
          <p:spPr bwMode="auto">
            <a:xfrm>
              <a:off x="896" y="1052"/>
              <a:ext cx="1171" cy="1006"/>
            </a:xfrm>
            <a:custGeom>
              <a:avLst/>
              <a:gdLst>
                <a:gd name="T0" fmla="*/ 2895 w 3091"/>
                <a:gd name="T1" fmla="*/ 857 h 2655"/>
                <a:gd name="T2" fmla="*/ 2837 w 3091"/>
                <a:gd name="T3" fmla="*/ 790 h 2655"/>
                <a:gd name="T4" fmla="*/ 2685 w 3091"/>
                <a:gd name="T5" fmla="*/ 603 h 2655"/>
                <a:gd name="T6" fmla="*/ 2520 w 3091"/>
                <a:gd name="T7" fmla="*/ 573 h 2655"/>
                <a:gd name="T8" fmla="*/ 2344 w 3091"/>
                <a:gd name="T9" fmla="*/ 493 h 2655"/>
                <a:gd name="T10" fmla="*/ 2183 w 3091"/>
                <a:gd name="T11" fmla="*/ 482 h 2655"/>
                <a:gd name="T12" fmla="*/ 2020 w 3091"/>
                <a:gd name="T13" fmla="*/ 471 h 2655"/>
                <a:gd name="T14" fmla="*/ 1445 w 3091"/>
                <a:gd name="T15" fmla="*/ 112 h 2655"/>
                <a:gd name="T16" fmla="*/ 1226 w 3091"/>
                <a:gd name="T17" fmla="*/ 523 h 2655"/>
                <a:gd name="T18" fmla="*/ 1079 w 3091"/>
                <a:gd name="T19" fmla="*/ 346 h 2655"/>
                <a:gd name="T20" fmla="*/ 1010 w 3091"/>
                <a:gd name="T21" fmla="*/ 472 h 2655"/>
                <a:gd name="T22" fmla="*/ 647 w 3091"/>
                <a:gd name="T23" fmla="*/ 240 h 2655"/>
                <a:gd name="T24" fmla="*/ 387 w 3091"/>
                <a:gd name="T25" fmla="*/ 394 h 2655"/>
                <a:gd name="T26" fmla="*/ 445 w 3091"/>
                <a:gd name="T27" fmla="*/ 700 h 2655"/>
                <a:gd name="T28" fmla="*/ 277 w 3091"/>
                <a:gd name="T29" fmla="*/ 1261 h 2655"/>
                <a:gd name="T30" fmla="*/ 288 w 3091"/>
                <a:gd name="T31" fmla="*/ 1632 h 2655"/>
                <a:gd name="T32" fmla="*/ 641 w 3091"/>
                <a:gd name="T33" fmla="*/ 1525 h 2655"/>
                <a:gd name="T34" fmla="*/ 673 w 3091"/>
                <a:gd name="T35" fmla="*/ 1421 h 2655"/>
                <a:gd name="T36" fmla="*/ 860 w 3091"/>
                <a:gd name="T37" fmla="*/ 1525 h 2655"/>
                <a:gd name="T38" fmla="*/ 916 w 3091"/>
                <a:gd name="T39" fmla="*/ 1741 h 2655"/>
                <a:gd name="T40" fmla="*/ 865 w 3091"/>
                <a:gd name="T41" fmla="*/ 1880 h 2655"/>
                <a:gd name="T42" fmla="*/ 1188 w 3091"/>
                <a:gd name="T43" fmla="*/ 1696 h 2655"/>
                <a:gd name="T44" fmla="*/ 1098 w 3091"/>
                <a:gd name="T45" fmla="*/ 1455 h 2655"/>
                <a:gd name="T46" fmla="*/ 1330 w 3091"/>
                <a:gd name="T47" fmla="*/ 1391 h 2655"/>
                <a:gd name="T48" fmla="*/ 1546 w 3091"/>
                <a:gd name="T49" fmla="*/ 1437 h 2655"/>
                <a:gd name="T50" fmla="*/ 1511 w 3091"/>
                <a:gd name="T51" fmla="*/ 1602 h 2655"/>
                <a:gd name="T52" fmla="*/ 1514 w 3091"/>
                <a:gd name="T53" fmla="*/ 1784 h 2655"/>
                <a:gd name="T54" fmla="*/ 1677 w 3091"/>
                <a:gd name="T55" fmla="*/ 1947 h 2655"/>
                <a:gd name="T56" fmla="*/ 1760 w 3091"/>
                <a:gd name="T57" fmla="*/ 2163 h 2655"/>
                <a:gd name="T58" fmla="*/ 1803 w 3091"/>
                <a:gd name="T59" fmla="*/ 2280 h 2655"/>
                <a:gd name="T60" fmla="*/ 1869 w 3091"/>
                <a:gd name="T61" fmla="*/ 2392 h 2655"/>
                <a:gd name="T62" fmla="*/ 1841 w 3091"/>
                <a:gd name="T63" fmla="*/ 2592 h 2655"/>
                <a:gd name="T64" fmla="*/ 2003 w 3091"/>
                <a:gd name="T65" fmla="*/ 2527 h 2655"/>
                <a:gd name="T66" fmla="*/ 2283 w 3091"/>
                <a:gd name="T67" fmla="*/ 2471 h 2655"/>
                <a:gd name="T68" fmla="*/ 2531 w 3091"/>
                <a:gd name="T69" fmla="*/ 2324 h 2655"/>
                <a:gd name="T70" fmla="*/ 2490 w 3091"/>
                <a:gd name="T71" fmla="*/ 2102 h 2655"/>
                <a:gd name="T72" fmla="*/ 2562 w 3091"/>
                <a:gd name="T73" fmla="*/ 1886 h 2655"/>
                <a:gd name="T74" fmla="*/ 2794 w 3091"/>
                <a:gd name="T75" fmla="*/ 1701 h 2655"/>
                <a:gd name="T76" fmla="*/ 2747 w 3091"/>
                <a:gd name="T77" fmla="*/ 1443 h 2655"/>
                <a:gd name="T78" fmla="*/ 2590 w 3091"/>
                <a:gd name="T79" fmla="*/ 1092 h 2655"/>
                <a:gd name="T80" fmla="*/ 2813 w 3091"/>
                <a:gd name="T81" fmla="*/ 1026 h 2655"/>
                <a:gd name="T82" fmla="*/ 3045 w 3091"/>
                <a:gd name="T83" fmla="*/ 944 h 2655"/>
                <a:gd name="T84" fmla="*/ 1521 w 3091"/>
                <a:gd name="T85" fmla="*/ 877 h 2655"/>
                <a:gd name="T86" fmla="*/ 1353 w 3091"/>
                <a:gd name="T87" fmla="*/ 877 h 2655"/>
                <a:gd name="T88" fmla="*/ 1251 w 3091"/>
                <a:gd name="T89" fmla="*/ 734 h 2655"/>
                <a:gd name="T90" fmla="*/ 1312 w 3091"/>
                <a:gd name="T91" fmla="*/ 724 h 2655"/>
                <a:gd name="T92" fmla="*/ 1425 w 3091"/>
                <a:gd name="T93" fmla="*/ 761 h 2655"/>
                <a:gd name="T94" fmla="*/ 1509 w 3091"/>
                <a:gd name="T95" fmla="*/ 824 h 2655"/>
                <a:gd name="T96" fmla="*/ 944 w 3091"/>
                <a:gd name="T97" fmla="*/ 133 h 2655"/>
                <a:gd name="T98" fmla="*/ 793 w 3091"/>
                <a:gd name="T99" fmla="*/ 120 h 2655"/>
                <a:gd name="T100" fmla="*/ 1176 w 3091"/>
                <a:gd name="T101" fmla="*/ 105 h 2655"/>
                <a:gd name="T102" fmla="*/ 1028 w 3091"/>
                <a:gd name="T103" fmla="*/ 200 h 2655"/>
                <a:gd name="T104" fmla="*/ 972 w 3091"/>
                <a:gd name="T105" fmla="*/ 169 h 2655"/>
                <a:gd name="T106" fmla="*/ 968 w 3091"/>
                <a:gd name="T107" fmla="*/ 147 h 2655"/>
                <a:gd name="T108" fmla="*/ 644 w 3091"/>
                <a:gd name="T109" fmla="*/ 183 h 2655"/>
                <a:gd name="T110" fmla="*/ 644 w 3091"/>
                <a:gd name="T111" fmla="*/ 183 h 2655"/>
                <a:gd name="T112" fmla="*/ 290 w 3091"/>
                <a:gd name="T113" fmla="*/ 244 h 2655"/>
                <a:gd name="T114" fmla="*/ 291 w 3091"/>
                <a:gd name="T115" fmla="*/ 216 h 2655"/>
                <a:gd name="T116" fmla="*/ 520 w 3091"/>
                <a:gd name="T117" fmla="*/ 191 h 2655"/>
                <a:gd name="T118" fmla="*/ 600 w 3091"/>
                <a:gd name="T119" fmla="*/ 164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02" name="Freeform 14">
              <a:extLst>
                <a:ext uri="{FF2B5EF4-FFF2-40B4-BE49-F238E27FC236}">
                  <a16:creationId xmlns:a16="http://schemas.microsoft.com/office/drawing/2014/main" id="{96267563-165F-EC43-926B-FDC2801B6619}"/>
                </a:ext>
              </a:extLst>
            </p:cNvPr>
            <p:cNvSpPr>
              <a:spLocks/>
            </p:cNvSpPr>
            <p:nvPr/>
          </p:nvSpPr>
          <p:spPr bwMode="auto">
            <a:xfrm>
              <a:off x="1837" y="1387"/>
              <a:ext cx="611" cy="801"/>
            </a:xfrm>
            <a:custGeom>
              <a:avLst/>
              <a:gdLst>
                <a:gd name="T0" fmla="*/ 1019 w 1614"/>
                <a:gd name="T1" fmla="*/ 1811 h 2114"/>
                <a:gd name="T2" fmla="*/ 1028 w 1614"/>
                <a:gd name="T3" fmla="*/ 1713 h 2114"/>
                <a:gd name="T4" fmla="*/ 996 w 1614"/>
                <a:gd name="T5" fmla="*/ 1581 h 2114"/>
                <a:gd name="T6" fmla="*/ 1014 w 1614"/>
                <a:gd name="T7" fmla="*/ 1521 h 2114"/>
                <a:gd name="T8" fmla="*/ 1142 w 1614"/>
                <a:gd name="T9" fmla="*/ 1446 h 2114"/>
                <a:gd name="T10" fmla="*/ 1406 w 1614"/>
                <a:gd name="T11" fmla="*/ 1361 h 2114"/>
                <a:gd name="T12" fmla="*/ 1536 w 1614"/>
                <a:gd name="T13" fmla="*/ 1414 h 2114"/>
                <a:gd name="T14" fmla="*/ 1601 w 1614"/>
                <a:gd name="T15" fmla="*/ 1275 h 2114"/>
                <a:gd name="T16" fmla="*/ 1567 w 1614"/>
                <a:gd name="T17" fmla="*/ 1156 h 2114"/>
                <a:gd name="T18" fmla="*/ 1369 w 1614"/>
                <a:gd name="T19" fmla="*/ 1080 h 2114"/>
                <a:gd name="T20" fmla="*/ 1143 w 1614"/>
                <a:gd name="T21" fmla="*/ 1017 h 2114"/>
                <a:gd name="T22" fmla="*/ 1055 w 1614"/>
                <a:gd name="T23" fmla="*/ 704 h 2114"/>
                <a:gd name="T24" fmla="*/ 977 w 1614"/>
                <a:gd name="T25" fmla="*/ 540 h 2114"/>
                <a:gd name="T26" fmla="*/ 999 w 1614"/>
                <a:gd name="T27" fmla="*/ 421 h 2114"/>
                <a:gd name="T28" fmla="*/ 929 w 1614"/>
                <a:gd name="T29" fmla="*/ 145 h 2114"/>
                <a:gd name="T30" fmla="*/ 766 w 1614"/>
                <a:gd name="T31" fmla="*/ 129 h 2114"/>
                <a:gd name="T32" fmla="*/ 644 w 1614"/>
                <a:gd name="T33" fmla="*/ 0 h 2114"/>
                <a:gd name="T34" fmla="*/ 547 w 1614"/>
                <a:gd name="T35" fmla="*/ 120 h 2114"/>
                <a:gd name="T36" fmla="*/ 330 w 1614"/>
                <a:gd name="T37" fmla="*/ 142 h 2114"/>
                <a:gd name="T38" fmla="*/ 208 w 1614"/>
                <a:gd name="T39" fmla="*/ 211 h 2114"/>
                <a:gd name="T40" fmla="*/ 132 w 1614"/>
                <a:gd name="T41" fmla="*/ 339 h 2114"/>
                <a:gd name="T42" fmla="*/ 264 w 1614"/>
                <a:gd name="T43" fmla="*/ 559 h 2114"/>
                <a:gd name="T44" fmla="*/ 258 w 1614"/>
                <a:gd name="T45" fmla="*/ 719 h 2114"/>
                <a:gd name="T46" fmla="*/ 270 w 1614"/>
                <a:gd name="T47" fmla="*/ 911 h 2114"/>
                <a:gd name="T48" fmla="*/ 79 w 1614"/>
                <a:gd name="T49" fmla="*/ 1002 h 2114"/>
                <a:gd name="T50" fmla="*/ 35 w 1614"/>
                <a:gd name="T51" fmla="*/ 1159 h 2114"/>
                <a:gd name="T52" fmla="*/ 0 w 1614"/>
                <a:gd name="T53" fmla="*/ 1297 h 2114"/>
                <a:gd name="T54" fmla="*/ 78 w 1614"/>
                <a:gd name="T55" fmla="*/ 1416 h 2114"/>
                <a:gd name="T56" fmla="*/ 243 w 1614"/>
                <a:gd name="T57" fmla="*/ 1627 h 2114"/>
                <a:gd name="T58" fmla="*/ 522 w 1614"/>
                <a:gd name="T59" fmla="*/ 1688 h 2114"/>
                <a:gd name="T60" fmla="*/ 562 w 1614"/>
                <a:gd name="T61" fmla="*/ 1869 h 2114"/>
                <a:gd name="T62" fmla="*/ 635 w 1614"/>
                <a:gd name="T63" fmla="*/ 1951 h 2114"/>
                <a:gd name="T64" fmla="*/ 739 w 1614"/>
                <a:gd name="T65" fmla="*/ 2007 h 2114"/>
                <a:gd name="T66" fmla="*/ 923 w 1614"/>
                <a:gd name="T67" fmla="*/ 2083 h 2114"/>
                <a:gd name="T68" fmla="*/ 1048 w 1614"/>
                <a:gd name="T69" fmla="*/ 2104 h 2114"/>
                <a:gd name="T70" fmla="*/ 1060 w 1614"/>
                <a:gd name="T71" fmla="*/ 1997 h 2114"/>
                <a:gd name="T72" fmla="*/ 1047 w 1614"/>
                <a:gd name="T73" fmla="*/ 1947 h 2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chemeClr val="folHlink"/>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03" name="Freeform 15">
              <a:extLst>
                <a:ext uri="{FF2B5EF4-FFF2-40B4-BE49-F238E27FC236}">
                  <a16:creationId xmlns:a16="http://schemas.microsoft.com/office/drawing/2014/main" id="{A62E4179-EF78-7F49-A411-C568FB9ACAED}"/>
                </a:ext>
              </a:extLst>
            </p:cNvPr>
            <p:cNvSpPr>
              <a:spLocks/>
            </p:cNvSpPr>
            <p:nvPr/>
          </p:nvSpPr>
          <p:spPr bwMode="auto">
            <a:xfrm>
              <a:off x="1665" y="1923"/>
              <a:ext cx="668" cy="534"/>
            </a:xfrm>
            <a:custGeom>
              <a:avLst/>
              <a:gdLst>
                <a:gd name="T0" fmla="*/ 1363 w 1764"/>
                <a:gd name="T1" fmla="*/ 1002 h 1408"/>
                <a:gd name="T2" fmla="*/ 1460 w 1764"/>
                <a:gd name="T3" fmla="*/ 1053 h 1408"/>
                <a:gd name="T4" fmla="*/ 1539 w 1764"/>
                <a:gd name="T5" fmla="*/ 1009 h 1408"/>
                <a:gd name="T6" fmla="*/ 1511 w 1764"/>
                <a:gd name="T7" fmla="*/ 875 h 1408"/>
                <a:gd name="T8" fmla="*/ 1764 w 1764"/>
                <a:gd name="T9" fmla="*/ 710 h 1408"/>
                <a:gd name="T10" fmla="*/ 1671 w 1764"/>
                <a:gd name="T11" fmla="*/ 592 h 1408"/>
                <a:gd name="T12" fmla="*/ 1529 w 1764"/>
                <a:gd name="T13" fmla="*/ 537 h 1408"/>
                <a:gd name="T14" fmla="*/ 1541 w 1764"/>
                <a:gd name="T15" fmla="*/ 612 h 1408"/>
                <a:gd name="T16" fmla="*/ 1471 w 1764"/>
                <a:gd name="T17" fmla="*/ 658 h 1408"/>
                <a:gd name="T18" fmla="*/ 1287 w 1764"/>
                <a:gd name="T19" fmla="*/ 581 h 1408"/>
                <a:gd name="T20" fmla="*/ 1159 w 1764"/>
                <a:gd name="T21" fmla="*/ 526 h 1408"/>
                <a:gd name="T22" fmla="*/ 1027 w 1764"/>
                <a:gd name="T23" fmla="*/ 529 h 1408"/>
                <a:gd name="T24" fmla="*/ 950 w 1764"/>
                <a:gd name="T25" fmla="*/ 419 h 1408"/>
                <a:gd name="T26" fmla="*/ 898 w 1764"/>
                <a:gd name="T27" fmla="*/ 220 h 1408"/>
                <a:gd name="T28" fmla="*/ 690 w 1764"/>
                <a:gd name="T29" fmla="*/ 21 h 1408"/>
                <a:gd name="T30" fmla="*/ 501 w 1764"/>
                <a:gd name="T31" fmla="*/ 24 h 1408"/>
                <a:gd name="T32" fmla="*/ 360 w 1764"/>
                <a:gd name="T33" fmla="*/ 43 h 1408"/>
                <a:gd name="T34" fmla="*/ 50 w 1764"/>
                <a:gd name="T35" fmla="*/ 261 h 1408"/>
                <a:gd name="T36" fmla="*/ 225 w 1764"/>
                <a:gd name="T37" fmla="*/ 460 h 1408"/>
                <a:gd name="T38" fmla="*/ 173 w 1764"/>
                <a:gd name="T39" fmla="*/ 577 h 1408"/>
                <a:gd name="T40" fmla="*/ 113 w 1764"/>
                <a:gd name="T41" fmla="*/ 635 h 1408"/>
                <a:gd name="T42" fmla="*/ 113 w 1764"/>
                <a:gd name="T43" fmla="*/ 758 h 1408"/>
                <a:gd name="T44" fmla="*/ 61 w 1764"/>
                <a:gd name="T45" fmla="*/ 816 h 1408"/>
                <a:gd name="T46" fmla="*/ 61 w 1764"/>
                <a:gd name="T47" fmla="*/ 1005 h 1408"/>
                <a:gd name="T48" fmla="*/ 124 w 1764"/>
                <a:gd name="T49" fmla="*/ 967 h 1408"/>
                <a:gd name="T50" fmla="*/ 113 w 1764"/>
                <a:gd name="T51" fmla="*/ 1016 h 1408"/>
                <a:gd name="T52" fmla="*/ 117 w 1764"/>
                <a:gd name="T53" fmla="*/ 1133 h 1408"/>
                <a:gd name="T54" fmla="*/ 290 w 1764"/>
                <a:gd name="T55" fmla="*/ 1162 h 1408"/>
                <a:gd name="T56" fmla="*/ 452 w 1764"/>
                <a:gd name="T57" fmla="*/ 1310 h 1408"/>
                <a:gd name="T58" fmla="*/ 632 w 1764"/>
                <a:gd name="T59" fmla="*/ 1378 h 1408"/>
                <a:gd name="T60" fmla="*/ 656 w 1764"/>
                <a:gd name="T61" fmla="*/ 1258 h 1408"/>
                <a:gd name="T62" fmla="*/ 812 w 1764"/>
                <a:gd name="T63" fmla="*/ 1348 h 1408"/>
                <a:gd name="T64" fmla="*/ 890 w 1764"/>
                <a:gd name="T65" fmla="*/ 1168 h 1408"/>
                <a:gd name="T66" fmla="*/ 1046 w 1764"/>
                <a:gd name="T67" fmla="*/ 1252 h 1408"/>
                <a:gd name="T68" fmla="*/ 1250 w 1764"/>
                <a:gd name="T69" fmla="*/ 1234 h 1408"/>
                <a:gd name="T70" fmla="*/ 1296 w 1764"/>
                <a:gd name="T71" fmla="*/ 1109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chemeClr val="folHlink"/>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04" name="Freeform 16">
              <a:extLst>
                <a:ext uri="{FF2B5EF4-FFF2-40B4-BE49-F238E27FC236}">
                  <a16:creationId xmlns:a16="http://schemas.microsoft.com/office/drawing/2014/main" id="{747A7293-3B9A-DD41-9062-CB66C46D480B}"/>
                </a:ext>
              </a:extLst>
            </p:cNvPr>
            <p:cNvSpPr>
              <a:spLocks/>
            </p:cNvSpPr>
            <p:nvPr/>
          </p:nvSpPr>
          <p:spPr bwMode="auto">
            <a:xfrm>
              <a:off x="2426" y="1521"/>
              <a:ext cx="143" cy="125"/>
            </a:xfrm>
            <a:custGeom>
              <a:avLst/>
              <a:gdLst>
                <a:gd name="T0" fmla="*/ 95 w 377"/>
                <a:gd name="T1" fmla="*/ 18 h 330"/>
                <a:gd name="T2" fmla="*/ 21 w 377"/>
                <a:gd name="T3" fmla="*/ 78 h 330"/>
                <a:gd name="T4" fmla="*/ 21 w 377"/>
                <a:gd name="T5" fmla="*/ 119 h 330"/>
                <a:gd name="T6" fmla="*/ 8 w 377"/>
                <a:gd name="T7" fmla="*/ 123 h 330"/>
                <a:gd name="T8" fmla="*/ 4 w 377"/>
                <a:gd name="T9" fmla="*/ 156 h 330"/>
                <a:gd name="T10" fmla="*/ 21 w 377"/>
                <a:gd name="T11" fmla="*/ 172 h 330"/>
                <a:gd name="T12" fmla="*/ 0 w 377"/>
                <a:gd name="T13" fmla="*/ 209 h 330"/>
                <a:gd name="T14" fmla="*/ 2 w 377"/>
                <a:gd name="T15" fmla="*/ 289 h 330"/>
                <a:gd name="T16" fmla="*/ 115 w 377"/>
                <a:gd name="T17" fmla="*/ 266 h 330"/>
                <a:gd name="T18" fmla="*/ 183 w 377"/>
                <a:gd name="T19" fmla="*/ 283 h 330"/>
                <a:gd name="T20" fmla="*/ 211 w 377"/>
                <a:gd name="T21" fmla="*/ 254 h 330"/>
                <a:gd name="T22" fmla="*/ 310 w 377"/>
                <a:gd name="T23" fmla="*/ 281 h 330"/>
                <a:gd name="T24" fmla="*/ 318 w 377"/>
                <a:gd name="T25" fmla="*/ 330 h 330"/>
                <a:gd name="T26" fmla="*/ 373 w 377"/>
                <a:gd name="T27" fmla="*/ 273 h 330"/>
                <a:gd name="T28" fmla="*/ 377 w 377"/>
                <a:gd name="T29" fmla="*/ 203 h 330"/>
                <a:gd name="T30" fmla="*/ 314 w 377"/>
                <a:gd name="T31" fmla="*/ 191 h 330"/>
                <a:gd name="T32" fmla="*/ 328 w 377"/>
                <a:gd name="T33" fmla="*/ 127 h 330"/>
                <a:gd name="T34" fmla="*/ 295 w 377"/>
                <a:gd name="T35" fmla="*/ 119 h 330"/>
                <a:gd name="T36" fmla="*/ 258 w 377"/>
                <a:gd name="T37" fmla="*/ 78 h 330"/>
                <a:gd name="T38" fmla="*/ 226 w 377"/>
                <a:gd name="T39" fmla="*/ 63 h 330"/>
                <a:gd name="T40" fmla="*/ 228 w 377"/>
                <a:gd name="T41" fmla="*/ 18 h 330"/>
                <a:gd name="T42" fmla="*/ 205 w 377"/>
                <a:gd name="T43" fmla="*/ 2 h 330"/>
                <a:gd name="T44" fmla="*/ 185 w 377"/>
                <a:gd name="T45" fmla="*/ 55 h 330"/>
                <a:gd name="T46" fmla="*/ 156 w 377"/>
                <a:gd name="T47" fmla="*/ 33 h 330"/>
                <a:gd name="T48" fmla="*/ 95 w 377"/>
                <a:gd name="T49" fmla="*/ 18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CEDFEE"/>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05" name="Freeform 17">
              <a:extLst>
                <a:ext uri="{FF2B5EF4-FFF2-40B4-BE49-F238E27FC236}">
                  <a16:creationId xmlns:a16="http://schemas.microsoft.com/office/drawing/2014/main" id="{472D1DC3-E692-E540-B51E-CA7F1FF06798}"/>
                </a:ext>
              </a:extLst>
            </p:cNvPr>
            <p:cNvSpPr>
              <a:spLocks/>
            </p:cNvSpPr>
            <p:nvPr/>
          </p:nvSpPr>
          <p:spPr bwMode="auto">
            <a:xfrm>
              <a:off x="2156" y="1902"/>
              <a:ext cx="742" cy="588"/>
            </a:xfrm>
            <a:custGeom>
              <a:avLst/>
              <a:gdLst>
                <a:gd name="T0" fmla="*/ 1658 w 1958"/>
                <a:gd name="T1" fmla="*/ 58 h 1551"/>
                <a:gd name="T2" fmla="*/ 1500 w 1958"/>
                <a:gd name="T3" fmla="*/ 136 h 1551"/>
                <a:gd name="T4" fmla="*/ 1317 w 1958"/>
                <a:gd name="T5" fmla="*/ 181 h 1551"/>
                <a:gd name="T6" fmla="*/ 1032 w 1958"/>
                <a:gd name="T7" fmla="*/ 296 h 1551"/>
                <a:gd name="T8" fmla="*/ 879 w 1958"/>
                <a:gd name="T9" fmla="*/ 220 h 1551"/>
                <a:gd name="T10" fmla="*/ 804 w 1958"/>
                <a:gd name="T11" fmla="*/ 222 h 1551"/>
                <a:gd name="T12" fmla="*/ 654 w 1958"/>
                <a:gd name="T13" fmla="*/ 44 h 1551"/>
                <a:gd name="T14" fmla="*/ 438 w 1958"/>
                <a:gd name="T15" fmla="*/ 72 h 1551"/>
                <a:gd name="T16" fmla="*/ 199 w 1958"/>
                <a:gd name="T17" fmla="*/ 132 h 1551"/>
                <a:gd name="T18" fmla="*/ 178 w 1958"/>
                <a:gd name="T19" fmla="*/ 197 h 1551"/>
                <a:gd name="T20" fmla="*/ 160 w 1958"/>
                <a:gd name="T21" fmla="*/ 315 h 1551"/>
                <a:gd name="T22" fmla="*/ 146 w 1958"/>
                <a:gd name="T23" fmla="*/ 375 h 1551"/>
                <a:gd name="T24" fmla="*/ 204 w 1958"/>
                <a:gd name="T25" fmla="*/ 586 h 1551"/>
                <a:gd name="T26" fmla="*/ 375 w 1958"/>
                <a:gd name="T27" fmla="*/ 647 h 1551"/>
                <a:gd name="T28" fmla="*/ 468 w 1958"/>
                <a:gd name="T29" fmla="*/ 765 h 1551"/>
                <a:gd name="T30" fmla="*/ 215 w 1958"/>
                <a:gd name="T31" fmla="*/ 930 h 1551"/>
                <a:gd name="T32" fmla="*/ 243 w 1958"/>
                <a:gd name="T33" fmla="*/ 1064 h 1551"/>
                <a:gd name="T34" fmla="*/ 164 w 1958"/>
                <a:gd name="T35" fmla="*/ 1108 h 1551"/>
                <a:gd name="T36" fmla="*/ 67 w 1958"/>
                <a:gd name="T37" fmla="*/ 1057 h 1551"/>
                <a:gd name="T38" fmla="*/ 0 w 1958"/>
                <a:gd name="T39" fmla="*/ 1261 h 1551"/>
                <a:gd name="T40" fmla="*/ 50 w 1958"/>
                <a:gd name="T41" fmla="*/ 1289 h 1551"/>
                <a:gd name="T42" fmla="*/ 128 w 1958"/>
                <a:gd name="T43" fmla="*/ 1366 h 1551"/>
                <a:gd name="T44" fmla="*/ 142 w 1958"/>
                <a:gd name="T45" fmla="*/ 1384 h 1551"/>
                <a:gd name="T46" fmla="*/ 356 w 1958"/>
                <a:gd name="T47" fmla="*/ 1359 h 1551"/>
                <a:gd name="T48" fmla="*/ 565 w 1958"/>
                <a:gd name="T49" fmla="*/ 1269 h 1551"/>
                <a:gd name="T50" fmla="*/ 825 w 1958"/>
                <a:gd name="T51" fmla="*/ 1161 h 1551"/>
                <a:gd name="T52" fmla="*/ 1085 w 1958"/>
                <a:gd name="T53" fmla="*/ 954 h 1551"/>
                <a:gd name="T54" fmla="*/ 1457 w 1958"/>
                <a:gd name="T55" fmla="*/ 777 h 1551"/>
                <a:gd name="T56" fmla="*/ 1464 w 1958"/>
                <a:gd name="T57" fmla="*/ 669 h 1551"/>
                <a:gd name="T58" fmla="*/ 1657 w 1958"/>
                <a:gd name="T59" fmla="*/ 738 h 1551"/>
                <a:gd name="T60" fmla="*/ 1781 w 1958"/>
                <a:gd name="T61" fmla="*/ 818 h 1551"/>
                <a:gd name="T62" fmla="*/ 1924 w 1958"/>
                <a:gd name="T63" fmla="*/ 478 h 1551"/>
                <a:gd name="T64" fmla="*/ 1736 w 1958"/>
                <a:gd name="T65" fmla="*/ 117 h 1551"/>
                <a:gd name="T66" fmla="*/ 1683 w 1958"/>
                <a:gd name="T67" fmla="*/ 81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chemeClr val="folHlink"/>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06" name="Freeform 18">
              <a:extLst>
                <a:ext uri="{FF2B5EF4-FFF2-40B4-BE49-F238E27FC236}">
                  <a16:creationId xmlns:a16="http://schemas.microsoft.com/office/drawing/2014/main" id="{7D9ADEDB-506D-D142-8741-2045654ED270}"/>
                </a:ext>
              </a:extLst>
            </p:cNvPr>
            <p:cNvSpPr>
              <a:spLocks noEditPoints="1"/>
            </p:cNvSpPr>
            <p:nvPr/>
          </p:nvSpPr>
          <p:spPr bwMode="auto">
            <a:xfrm>
              <a:off x="1993" y="1185"/>
              <a:ext cx="826" cy="831"/>
            </a:xfrm>
            <a:custGeom>
              <a:avLst/>
              <a:gdLst>
                <a:gd name="T0" fmla="*/ 1702 w 2181"/>
                <a:gd name="T1" fmla="*/ 280 h 2192"/>
                <a:gd name="T2" fmla="*/ 1689 w 2181"/>
                <a:gd name="T3" fmla="*/ 130 h 2192"/>
                <a:gd name="T4" fmla="*/ 1557 w 2181"/>
                <a:gd name="T5" fmla="*/ 29 h 2192"/>
                <a:gd name="T6" fmla="*/ 1462 w 2181"/>
                <a:gd name="T7" fmla="*/ 77 h 2192"/>
                <a:gd name="T8" fmla="*/ 1356 w 2181"/>
                <a:gd name="T9" fmla="*/ 143 h 2192"/>
                <a:gd name="T10" fmla="*/ 1105 w 2181"/>
                <a:gd name="T11" fmla="*/ 344 h 2192"/>
                <a:gd name="T12" fmla="*/ 907 w 2181"/>
                <a:gd name="T13" fmla="*/ 352 h 2192"/>
                <a:gd name="T14" fmla="*/ 603 w 2181"/>
                <a:gd name="T15" fmla="*/ 254 h 2192"/>
                <a:gd name="T16" fmla="*/ 465 w 2181"/>
                <a:gd name="T17" fmla="*/ 227 h 2192"/>
                <a:gd name="T18" fmla="*/ 224 w 2181"/>
                <a:gd name="T19" fmla="*/ 341 h 2192"/>
                <a:gd name="T20" fmla="*/ 10 w 2181"/>
                <a:gd name="T21" fmla="*/ 465 h 2192"/>
                <a:gd name="T22" fmla="*/ 42 w 2181"/>
                <a:gd name="T23" fmla="*/ 529 h 2192"/>
                <a:gd name="T24" fmla="*/ 196 w 2181"/>
                <a:gd name="T25" fmla="*/ 559 h 2192"/>
                <a:gd name="T26" fmla="*/ 354 w 2181"/>
                <a:gd name="T27" fmla="*/ 611 h 2192"/>
                <a:gd name="T28" fmla="*/ 455 w 2181"/>
                <a:gd name="T29" fmla="*/ 705 h 2192"/>
                <a:gd name="T30" fmla="*/ 593 w 2181"/>
                <a:gd name="T31" fmla="*/ 714 h 2192"/>
                <a:gd name="T32" fmla="*/ 552 w 2181"/>
                <a:gd name="T33" fmla="*/ 1038 h 2192"/>
                <a:gd name="T34" fmla="*/ 646 w 2181"/>
                <a:gd name="T35" fmla="*/ 1066 h 2192"/>
                <a:gd name="T36" fmla="*/ 609 w 2181"/>
                <a:gd name="T37" fmla="*/ 1455 h 2192"/>
                <a:gd name="T38" fmla="*/ 769 w 2181"/>
                <a:gd name="T39" fmla="*/ 1537 h 2192"/>
                <a:gd name="T40" fmla="*/ 1054 w 2181"/>
                <a:gd name="T41" fmla="*/ 1622 h 2192"/>
                <a:gd name="T42" fmla="*/ 1192 w 2181"/>
                <a:gd name="T43" fmla="*/ 1691 h 2192"/>
                <a:gd name="T44" fmla="*/ 1202 w 2181"/>
                <a:gd name="T45" fmla="*/ 1866 h 2192"/>
                <a:gd name="T46" fmla="*/ 1201 w 2181"/>
                <a:gd name="T47" fmla="*/ 1965 h 2192"/>
                <a:gd name="T48" fmla="*/ 1231 w 2181"/>
                <a:gd name="T49" fmla="*/ 2166 h 2192"/>
                <a:gd name="T50" fmla="*/ 1358 w 2181"/>
                <a:gd name="T51" fmla="*/ 2120 h 2192"/>
                <a:gd name="T52" fmla="*/ 1718 w 2181"/>
                <a:gd name="T53" fmla="*/ 2171 h 2192"/>
                <a:gd name="T54" fmla="*/ 1829 w 2181"/>
                <a:gd name="T55" fmla="*/ 1997 h 2192"/>
                <a:gd name="T56" fmla="*/ 1957 w 2181"/>
                <a:gd name="T57" fmla="*/ 1999 h 2192"/>
                <a:gd name="T58" fmla="*/ 2114 w 2181"/>
                <a:gd name="T59" fmla="*/ 1974 h 2192"/>
                <a:gd name="T60" fmla="*/ 2169 w 2181"/>
                <a:gd name="T61" fmla="*/ 1879 h 2192"/>
                <a:gd name="T62" fmla="*/ 2100 w 2181"/>
                <a:gd name="T63" fmla="*/ 1440 h 2192"/>
                <a:gd name="T64" fmla="*/ 2004 w 2181"/>
                <a:gd name="T65" fmla="*/ 1160 h 2192"/>
                <a:gd name="T66" fmla="*/ 1716 w 2181"/>
                <a:gd name="T67" fmla="*/ 718 h 2192"/>
                <a:gd name="T68" fmla="*/ 1856 w 2181"/>
                <a:gd name="T69" fmla="*/ 467 h 2192"/>
                <a:gd name="T70" fmla="*/ 1797 w 2181"/>
                <a:gd name="T71" fmla="*/ 249 h 2192"/>
                <a:gd name="T72" fmla="*/ 1517 w 2181"/>
                <a:gd name="T73" fmla="*/ 1159 h 2192"/>
                <a:gd name="T74" fmla="*/ 1454 w 2181"/>
                <a:gd name="T75" fmla="*/ 1167 h 2192"/>
                <a:gd name="T76" fmla="*/ 1327 w 2181"/>
                <a:gd name="T77" fmla="*/ 1169 h 2192"/>
                <a:gd name="T78" fmla="*/ 1146 w 2181"/>
                <a:gd name="T79" fmla="*/ 1175 h 2192"/>
                <a:gd name="T80" fmla="*/ 1165 w 2181"/>
                <a:gd name="T81" fmla="*/ 1058 h 2192"/>
                <a:gd name="T82" fmla="*/ 1152 w 2181"/>
                <a:gd name="T83" fmla="*/ 1009 h 2192"/>
                <a:gd name="T84" fmla="*/ 1165 w 2181"/>
                <a:gd name="T85" fmla="*/ 964 h 2192"/>
                <a:gd name="T86" fmla="*/ 1300 w 2181"/>
                <a:gd name="T87" fmla="*/ 919 h 2192"/>
                <a:gd name="T88" fmla="*/ 1349 w 2181"/>
                <a:gd name="T89" fmla="*/ 888 h 2192"/>
                <a:gd name="T90" fmla="*/ 1370 w 2181"/>
                <a:gd name="T91" fmla="*/ 949 h 2192"/>
                <a:gd name="T92" fmla="*/ 1439 w 2181"/>
                <a:gd name="T93" fmla="*/ 1005 h 2192"/>
                <a:gd name="T94" fmla="*/ 1458 w 2181"/>
                <a:gd name="T95" fmla="*/ 1077 h 2192"/>
                <a:gd name="T96" fmla="*/ 1517 w 2181"/>
                <a:gd name="T97" fmla="*/ 1159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chemeClr val="folHlink"/>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07" name="Freeform 19">
              <a:extLst>
                <a:ext uri="{FF2B5EF4-FFF2-40B4-BE49-F238E27FC236}">
                  <a16:creationId xmlns:a16="http://schemas.microsoft.com/office/drawing/2014/main" id="{3880774F-2B45-B64B-B781-476178D97FAB}"/>
                </a:ext>
              </a:extLst>
            </p:cNvPr>
            <p:cNvSpPr>
              <a:spLocks/>
            </p:cNvSpPr>
            <p:nvPr/>
          </p:nvSpPr>
          <p:spPr bwMode="auto">
            <a:xfrm>
              <a:off x="1447" y="2334"/>
              <a:ext cx="1202" cy="1256"/>
            </a:xfrm>
            <a:custGeom>
              <a:avLst/>
              <a:gdLst>
                <a:gd name="T0" fmla="*/ 1998 w 3172"/>
                <a:gd name="T1" fmla="*/ 227 h 3315"/>
                <a:gd name="T2" fmla="*/ 1920 w 3172"/>
                <a:gd name="T3" fmla="*/ 150 h 3315"/>
                <a:gd name="T4" fmla="*/ 1870 w 3172"/>
                <a:gd name="T5" fmla="*/ 122 h 3315"/>
                <a:gd name="T6" fmla="*/ 1680 w 3172"/>
                <a:gd name="T7" fmla="*/ 150 h 3315"/>
                <a:gd name="T8" fmla="*/ 1560 w 3172"/>
                <a:gd name="T9" fmla="*/ 60 h 3315"/>
                <a:gd name="T10" fmla="*/ 1452 w 3172"/>
                <a:gd name="T11" fmla="*/ 270 h 3315"/>
                <a:gd name="T12" fmla="*/ 1380 w 3172"/>
                <a:gd name="T13" fmla="*/ 198 h 3315"/>
                <a:gd name="T14" fmla="*/ 1116 w 3172"/>
                <a:gd name="T15" fmla="*/ 222 h 3315"/>
                <a:gd name="T16" fmla="*/ 1056 w 3172"/>
                <a:gd name="T17" fmla="*/ 324 h 3315"/>
                <a:gd name="T18" fmla="*/ 918 w 3172"/>
                <a:gd name="T19" fmla="*/ 162 h 3315"/>
                <a:gd name="T20" fmla="*/ 744 w 3172"/>
                <a:gd name="T21" fmla="*/ 0 h 3315"/>
                <a:gd name="T22" fmla="*/ 510 w 3172"/>
                <a:gd name="T23" fmla="*/ 126 h 3315"/>
                <a:gd name="T24" fmla="*/ 408 w 3172"/>
                <a:gd name="T25" fmla="*/ 336 h 3315"/>
                <a:gd name="T26" fmla="*/ 354 w 3172"/>
                <a:gd name="T27" fmla="*/ 444 h 3315"/>
                <a:gd name="T28" fmla="*/ 240 w 3172"/>
                <a:gd name="T29" fmla="*/ 408 h 3315"/>
                <a:gd name="T30" fmla="*/ 108 w 3172"/>
                <a:gd name="T31" fmla="*/ 456 h 3315"/>
                <a:gd name="T32" fmla="*/ 0 w 3172"/>
                <a:gd name="T33" fmla="*/ 480 h 3315"/>
                <a:gd name="T34" fmla="*/ 84 w 3172"/>
                <a:gd name="T35" fmla="*/ 768 h 3315"/>
                <a:gd name="T36" fmla="*/ 66 w 3172"/>
                <a:gd name="T37" fmla="*/ 984 h 3315"/>
                <a:gd name="T38" fmla="*/ 192 w 3172"/>
                <a:gd name="T39" fmla="*/ 906 h 3315"/>
                <a:gd name="T40" fmla="*/ 264 w 3172"/>
                <a:gd name="T41" fmla="*/ 840 h 3315"/>
                <a:gd name="T42" fmla="*/ 354 w 3172"/>
                <a:gd name="T43" fmla="*/ 786 h 3315"/>
                <a:gd name="T44" fmla="*/ 432 w 3172"/>
                <a:gd name="T45" fmla="*/ 852 h 3315"/>
                <a:gd name="T46" fmla="*/ 546 w 3172"/>
                <a:gd name="T47" fmla="*/ 990 h 3315"/>
                <a:gd name="T48" fmla="*/ 600 w 3172"/>
                <a:gd name="T49" fmla="*/ 1074 h 3315"/>
                <a:gd name="T50" fmla="*/ 690 w 3172"/>
                <a:gd name="T51" fmla="*/ 1014 h 3315"/>
                <a:gd name="T52" fmla="*/ 714 w 3172"/>
                <a:gd name="T53" fmla="*/ 1266 h 3315"/>
                <a:gd name="T54" fmla="*/ 816 w 3172"/>
                <a:gd name="T55" fmla="*/ 1428 h 3315"/>
                <a:gd name="T56" fmla="*/ 924 w 3172"/>
                <a:gd name="T57" fmla="*/ 1584 h 3315"/>
                <a:gd name="T58" fmla="*/ 966 w 3172"/>
                <a:gd name="T59" fmla="*/ 1848 h 3315"/>
                <a:gd name="T60" fmla="*/ 846 w 3172"/>
                <a:gd name="T61" fmla="*/ 2028 h 3315"/>
                <a:gd name="T62" fmla="*/ 654 w 3172"/>
                <a:gd name="T63" fmla="*/ 2100 h 3315"/>
                <a:gd name="T64" fmla="*/ 708 w 3172"/>
                <a:gd name="T65" fmla="*/ 2556 h 3315"/>
                <a:gd name="T66" fmla="*/ 712 w 3172"/>
                <a:gd name="T67" fmla="*/ 2878 h 3315"/>
                <a:gd name="T68" fmla="*/ 393 w 3172"/>
                <a:gd name="T69" fmla="*/ 2962 h 3315"/>
                <a:gd name="T70" fmla="*/ 396 w 3172"/>
                <a:gd name="T71" fmla="*/ 3049 h 3315"/>
                <a:gd name="T72" fmla="*/ 610 w 3172"/>
                <a:gd name="T73" fmla="*/ 3101 h 3315"/>
                <a:gd name="T74" fmla="*/ 753 w 3172"/>
                <a:gd name="T75" fmla="*/ 3199 h 3315"/>
                <a:gd name="T76" fmla="*/ 937 w 3172"/>
                <a:gd name="T77" fmla="*/ 3145 h 3315"/>
                <a:gd name="T78" fmla="*/ 998 w 3172"/>
                <a:gd name="T79" fmla="*/ 3033 h 3315"/>
                <a:gd name="T80" fmla="*/ 1196 w 3172"/>
                <a:gd name="T81" fmla="*/ 3110 h 3315"/>
                <a:gd name="T82" fmla="*/ 1453 w 3172"/>
                <a:gd name="T83" fmla="*/ 3156 h 3315"/>
                <a:gd name="T84" fmla="*/ 1580 w 3172"/>
                <a:gd name="T85" fmla="*/ 3147 h 3315"/>
                <a:gd name="T86" fmla="*/ 1702 w 3172"/>
                <a:gd name="T87" fmla="*/ 3007 h 3315"/>
                <a:gd name="T88" fmla="*/ 2102 w 3172"/>
                <a:gd name="T89" fmla="*/ 2972 h 3315"/>
                <a:gd name="T90" fmla="*/ 2129 w 3172"/>
                <a:gd name="T91" fmla="*/ 2901 h 3315"/>
                <a:gd name="T92" fmla="*/ 2509 w 3172"/>
                <a:gd name="T93" fmla="*/ 2899 h 3315"/>
                <a:gd name="T94" fmla="*/ 2672 w 3172"/>
                <a:gd name="T95" fmla="*/ 3080 h 3315"/>
                <a:gd name="T96" fmla="*/ 2589 w 3172"/>
                <a:gd name="T97" fmla="*/ 2857 h 3315"/>
                <a:gd name="T98" fmla="*/ 2530 w 3172"/>
                <a:gd name="T99" fmla="*/ 2545 h 3315"/>
                <a:gd name="T100" fmla="*/ 2653 w 3172"/>
                <a:gd name="T101" fmla="*/ 2296 h 3315"/>
                <a:gd name="T102" fmla="*/ 2900 w 3172"/>
                <a:gd name="T103" fmla="*/ 1993 h 3315"/>
                <a:gd name="T104" fmla="*/ 3161 w 3172"/>
                <a:gd name="T105" fmla="*/ 1836 h 3315"/>
                <a:gd name="T106" fmla="*/ 2877 w 3172"/>
                <a:gd name="T107" fmla="*/ 1512 h 3315"/>
                <a:gd name="T108" fmla="*/ 2485 w 3172"/>
                <a:gd name="T109" fmla="*/ 1218 h 3315"/>
                <a:gd name="T110" fmla="*/ 2274 w 3172"/>
                <a:gd name="T111" fmla="*/ 885 h 3315"/>
                <a:gd name="T112" fmla="*/ 2244 w 3172"/>
                <a:gd name="T113" fmla="*/ 734 h 3315"/>
                <a:gd name="T114" fmla="*/ 2231 w 3172"/>
                <a:gd name="T115" fmla="*/ 616 h 3315"/>
                <a:gd name="T116" fmla="*/ 1987 w 3172"/>
                <a:gd name="T117" fmla="*/ 250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08" name="Freeform 20">
              <a:extLst>
                <a:ext uri="{FF2B5EF4-FFF2-40B4-BE49-F238E27FC236}">
                  <a16:creationId xmlns:a16="http://schemas.microsoft.com/office/drawing/2014/main" id="{A518EC5A-CCFF-854C-81EA-45F4F3357FEC}"/>
                </a:ext>
              </a:extLst>
            </p:cNvPr>
            <p:cNvSpPr>
              <a:spLocks/>
            </p:cNvSpPr>
            <p:nvPr/>
          </p:nvSpPr>
          <p:spPr bwMode="auto">
            <a:xfrm>
              <a:off x="783" y="2657"/>
              <a:ext cx="263" cy="228"/>
            </a:xfrm>
            <a:custGeom>
              <a:avLst/>
              <a:gdLst>
                <a:gd name="T0" fmla="*/ 658 w 693"/>
                <a:gd name="T1" fmla="*/ 512 h 601"/>
                <a:gd name="T2" fmla="*/ 629 w 693"/>
                <a:gd name="T3" fmla="*/ 460 h 601"/>
                <a:gd name="T4" fmla="*/ 629 w 693"/>
                <a:gd name="T5" fmla="*/ 411 h 601"/>
                <a:gd name="T6" fmla="*/ 693 w 693"/>
                <a:gd name="T7" fmla="*/ 311 h 601"/>
                <a:gd name="T8" fmla="*/ 596 w 693"/>
                <a:gd name="T9" fmla="*/ 217 h 601"/>
                <a:gd name="T10" fmla="*/ 639 w 693"/>
                <a:gd name="T11" fmla="*/ 179 h 601"/>
                <a:gd name="T12" fmla="*/ 620 w 693"/>
                <a:gd name="T13" fmla="*/ 73 h 601"/>
                <a:gd name="T14" fmla="*/ 542 w 693"/>
                <a:gd name="T15" fmla="*/ 49 h 601"/>
                <a:gd name="T16" fmla="*/ 491 w 693"/>
                <a:gd name="T17" fmla="*/ 14 h 601"/>
                <a:gd name="T18" fmla="*/ 426 w 693"/>
                <a:gd name="T19" fmla="*/ 0 h 601"/>
                <a:gd name="T20" fmla="*/ 264 w 693"/>
                <a:gd name="T21" fmla="*/ 92 h 601"/>
                <a:gd name="T22" fmla="*/ 231 w 693"/>
                <a:gd name="T23" fmla="*/ 84 h 601"/>
                <a:gd name="T24" fmla="*/ 172 w 693"/>
                <a:gd name="T25" fmla="*/ 100 h 601"/>
                <a:gd name="T26" fmla="*/ 18 w 693"/>
                <a:gd name="T27" fmla="*/ 70 h 601"/>
                <a:gd name="T28" fmla="*/ 17 w 693"/>
                <a:gd name="T29" fmla="*/ 124 h 601"/>
                <a:gd name="T30" fmla="*/ 125 w 693"/>
                <a:gd name="T31" fmla="*/ 218 h 601"/>
                <a:gd name="T32" fmla="*/ 121 w 693"/>
                <a:gd name="T33" fmla="*/ 301 h 601"/>
                <a:gd name="T34" fmla="*/ 227 w 693"/>
                <a:gd name="T35" fmla="*/ 436 h 601"/>
                <a:gd name="T36" fmla="*/ 263 w 693"/>
                <a:gd name="T37" fmla="*/ 496 h 601"/>
                <a:gd name="T38" fmla="*/ 314 w 693"/>
                <a:gd name="T39" fmla="*/ 450 h 601"/>
                <a:gd name="T40" fmla="*/ 427 w 693"/>
                <a:gd name="T41" fmla="*/ 495 h 601"/>
                <a:gd name="T42" fmla="*/ 480 w 693"/>
                <a:gd name="T43" fmla="*/ 517 h 601"/>
                <a:gd name="T44" fmla="*/ 594 w 693"/>
                <a:gd name="T45" fmla="*/ 561 h 601"/>
                <a:gd name="T46" fmla="*/ 661 w 693"/>
                <a:gd name="T47" fmla="*/ 533 h 601"/>
                <a:gd name="T48" fmla="*/ 658 w 693"/>
                <a:gd name="T49" fmla="*/ 51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09" name="Freeform 21">
              <a:extLst>
                <a:ext uri="{FF2B5EF4-FFF2-40B4-BE49-F238E27FC236}">
                  <a16:creationId xmlns:a16="http://schemas.microsoft.com/office/drawing/2014/main" id="{5AC5781B-7EE5-6C40-8C84-9C209F128B0E}"/>
                </a:ext>
              </a:extLst>
            </p:cNvPr>
            <p:cNvSpPr>
              <a:spLocks/>
            </p:cNvSpPr>
            <p:nvPr/>
          </p:nvSpPr>
          <p:spPr bwMode="auto">
            <a:xfrm>
              <a:off x="1156" y="1916"/>
              <a:ext cx="597" cy="860"/>
            </a:xfrm>
            <a:custGeom>
              <a:avLst/>
              <a:gdLst>
                <a:gd name="T0" fmla="*/ 471 w 1575"/>
                <a:gd name="T1" fmla="*/ 2117 h 2271"/>
                <a:gd name="T2" fmla="*/ 497 w 1575"/>
                <a:gd name="T3" fmla="*/ 2039 h 2271"/>
                <a:gd name="T4" fmla="*/ 583 w 1575"/>
                <a:gd name="T5" fmla="*/ 2127 h 2271"/>
                <a:gd name="T6" fmla="*/ 628 w 1575"/>
                <a:gd name="T7" fmla="*/ 2237 h 2271"/>
                <a:gd name="T8" fmla="*/ 697 w 1575"/>
                <a:gd name="T9" fmla="*/ 2210 h 2271"/>
                <a:gd name="T10" fmla="*/ 753 w 1575"/>
                <a:gd name="T11" fmla="*/ 2143 h 2271"/>
                <a:gd name="T12" fmla="*/ 812 w 1575"/>
                <a:gd name="T13" fmla="*/ 2101 h 2271"/>
                <a:gd name="T14" fmla="*/ 828 w 1575"/>
                <a:gd name="T15" fmla="*/ 2084 h 2271"/>
                <a:gd name="T16" fmla="*/ 852 w 1575"/>
                <a:gd name="T17" fmla="*/ 1872 h 2271"/>
                <a:gd name="T18" fmla="*/ 768 w 1575"/>
                <a:gd name="T19" fmla="*/ 1584 h 2271"/>
                <a:gd name="T20" fmla="*/ 876 w 1575"/>
                <a:gd name="T21" fmla="*/ 1560 h 2271"/>
                <a:gd name="T22" fmla="*/ 1008 w 1575"/>
                <a:gd name="T23" fmla="*/ 1512 h 2271"/>
                <a:gd name="T24" fmla="*/ 1122 w 1575"/>
                <a:gd name="T25" fmla="*/ 1548 h 2271"/>
                <a:gd name="T26" fmla="*/ 1176 w 1575"/>
                <a:gd name="T27" fmla="*/ 1440 h 2271"/>
                <a:gd name="T28" fmla="*/ 1278 w 1575"/>
                <a:gd name="T29" fmla="*/ 1230 h 2271"/>
                <a:gd name="T30" fmla="*/ 1459 w 1575"/>
                <a:gd name="T31" fmla="*/ 1153 h 2271"/>
                <a:gd name="T32" fmla="*/ 1455 w 1575"/>
                <a:gd name="T33" fmla="*/ 1036 h 2271"/>
                <a:gd name="T34" fmla="*/ 1466 w 1575"/>
                <a:gd name="T35" fmla="*/ 987 h 2271"/>
                <a:gd name="T36" fmla="*/ 1403 w 1575"/>
                <a:gd name="T37" fmla="*/ 1025 h 2271"/>
                <a:gd name="T38" fmla="*/ 1403 w 1575"/>
                <a:gd name="T39" fmla="*/ 836 h 2271"/>
                <a:gd name="T40" fmla="*/ 1455 w 1575"/>
                <a:gd name="T41" fmla="*/ 778 h 2271"/>
                <a:gd name="T42" fmla="*/ 1455 w 1575"/>
                <a:gd name="T43" fmla="*/ 655 h 2271"/>
                <a:gd name="T44" fmla="*/ 1515 w 1575"/>
                <a:gd name="T45" fmla="*/ 597 h 2271"/>
                <a:gd name="T46" fmla="*/ 1567 w 1575"/>
                <a:gd name="T47" fmla="*/ 480 h 2271"/>
                <a:gd name="T48" fmla="*/ 1381 w 1575"/>
                <a:gd name="T49" fmla="*/ 244 h 2271"/>
                <a:gd name="T50" fmla="*/ 1260 w 1575"/>
                <a:gd name="T51" fmla="*/ 304 h 2271"/>
                <a:gd name="T52" fmla="*/ 1153 w 1575"/>
                <a:gd name="T53" fmla="*/ 312 h 2271"/>
                <a:gd name="T54" fmla="*/ 1219 w 1575"/>
                <a:gd name="T55" fmla="*/ 203 h 2271"/>
                <a:gd name="T56" fmla="*/ 1238 w 1575"/>
                <a:gd name="T57" fmla="*/ 79 h 2271"/>
                <a:gd name="T58" fmla="*/ 1115 w 1575"/>
                <a:gd name="T59" fmla="*/ 0 h 2271"/>
                <a:gd name="T60" fmla="*/ 1011 w 1575"/>
                <a:gd name="T61" fmla="*/ 126 h 2271"/>
                <a:gd name="T62" fmla="*/ 830 w 1575"/>
                <a:gd name="T63" fmla="*/ 143 h 2271"/>
                <a:gd name="T64" fmla="*/ 767 w 1575"/>
                <a:gd name="T65" fmla="*/ 266 h 2271"/>
                <a:gd name="T66" fmla="*/ 537 w 1575"/>
                <a:gd name="T67" fmla="*/ 362 h 2271"/>
                <a:gd name="T68" fmla="*/ 622 w 1575"/>
                <a:gd name="T69" fmla="*/ 381 h 2271"/>
                <a:gd name="T70" fmla="*/ 619 w 1575"/>
                <a:gd name="T71" fmla="*/ 545 h 2271"/>
                <a:gd name="T72" fmla="*/ 507 w 1575"/>
                <a:gd name="T73" fmla="*/ 619 h 2271"/>
                <a:gd name="T74" fmla="*/ 334 w 1575"/>
                <a:gd name="T75" fmla="*/ 759 h 2271"/>
                <a:gd name="T76" fmla="*/ 265 w 1575"/>
                <a:gd name="T77" fmla="*/ 904 h 2271"/>
                <a:gd name="T78" fmla="*/ 235 w 1575"/>
                <a:gd name="T79" fmla="*/ 949 h 2271"/>
                <a:gd name="T80" fmla="*/ 163 w 1575"/>
                <a:gd name="T81" fmla="*/ 1079 h 2271"/>
                <a:gd name="T82" fmla="*/ 217 w 1575"/>
                <a:gd name="T83" fmla="*/ 1355 h 2271"/>
                <a:gd name="T84" fmla="*/ 68 w 1575"/>
                <a:gd name="T85" fmla="*/ 1468 h 2271"/>
                <a:gd name="T86" fmla="*/ 95 w 1575"/>
                <a:gd name="T87" fmla="*/ 1517 h 2271"/>
                <a:gd name="T88" fmla="*/ 0 w 1575"/>
                <a:gd name="T89" fmla="*/ 1566 h 2271"/>
                <a:gd name="T90" fmla="*/ 273 w 1575"/>
                <a:gd name="T91" fmla="*/ 1587 h 2271"/>
                <a:gd name="T92" fmla="*/ 352 w 1575"/>
                <a:gd name="T93" fmla="*/ 1771 h 2271"/>
                <a:gd name="T94" fmla="*/ 352 w 1575"/>
                <a:gd name="T95" fmla="*/ 1947 h 2271"/>
                <a:gd name="T96" fmla="*/ 423 w 1575"/>
                <a:gd name="T97" fmla="*/ 2063 h 2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10" name="Freeform 22">
              <a:extLst>
                <a:ext uri="{FF2B5EF4-FFF2-40B4-BE49-F238E27FC236}">
                  <a16:creationId xmlns:a16="http://schemas.microsoft.com/office/drawing/2014/main" id="{554EC390-A43C-FE44-9C6B-5E0E18452719}"/>
                </a:ext>
              </a:extLst>
            </p:cNvPr>
            <p:cNvSpPr>
              <a:spLocks/>
            </p:cNvSpPr>
            <p:nvPr/>
          </p:nvSpPr>
          <p:spPr bwMode="auto">
            <a:xfrm>
              <a:off x="746" y="2182"/>
              <a:ext cx="577" cy="752"/>
            </a:xfrm>
            <a:custGeom>
              <a:avLst/>
              <a:gdLst>
                <a:gd name="T0" fmla="*/ 1471 w 1522"/>
                <a:gd name="T1" fmla="*/ 1363 h 1984"/>
                <a:gd name="T2" fmla="*/ 1435 w 1522"/>
                <a:gd name="T3" fmla="*/ 1244 h 1984"/>
                <a:gd name="T4" fmla="*/ 1435 w 1522"/>
                <a:gd name="T5" fmla="*/ 1068 h 1984"/>
                <a:gd name="T6" fmla="*/ 1356 w 1522"/>
                <a:gd name="T7" fmla="*/ 884 h 1984"/>
                <a:gd name="T8" fmla="*/ 1083 w 1522"/>
                <a:gd name="T9" fmla="*/ 863 h 1984"/>
                <a:gd name="T10" fmla="*/ 1178 w 1522"/>
                <a:gd name="T11" fmla="*/ 814 h 1984"/>
                <a:gd name="T12" fmla="*/ 1151 w 1522"/>
                <a:gd name="T13" fmla="*/ 765 h 1984"/>
                <a:gd name="T14" fmla="*/ 1300 w 1522"/>
                <a:gd name="T15" fmla="*/ 652 h 1984"/>
                <a:gd name="T16" fmla="*/ 1246 w 1522"/>
                <a:gd name="T17" fmla="*/ 376 h 1984"/>
                <a:gd name="T18" fmla="*/ 1318 w 1522"/>
                <a:gd name="T19" fmla="*/ 246 h 1984"/>
                <a:gd name="T20" fmla="*/ 1218 w 1522"/>
                <a:gd name="T21" fmla="*/ 90 h 1984"/>
                <a:gd name="T22" fmla="*/ 1143 w 1522"/>
                <a:gd name="T23" fmla="*/ 0 h 1984"/>
                <a:gd name="T24" fmla="*/ 1091 w 1522"/>
                <a:gd name="T25" fmla="*/ 84 h 1984"/>
                <a:gd name="T26" fmla="*/ 1016 w 1522"/>
                <a:gd name="T27" fmla="*/ 154 h 1984"/>
                <a:gd name="T28" fmla="*/ 846 w 1522"/>
                <a:gd name="T29" fmla="*/ 265 h 1984"/>
                <a:gd name="T30" fmla="*/ 724 w 1522"/>
                <a:gd name="T31" fmla="*/ 265 h 1984"/>
                <a:gd name="T32" fmla="*/ 532 w 1522"/>
                <a:gd name="T33" fmla="*/ 441 h 1984"/>
                <a:gd name="T34" fmla="*/ 429 w 1522"/>
                <a:gd name="T35" fmla="*/ 422 h 1984"/>
                <a:gd name="T36" fmla="*/ 408 w 1522"/>
                <a:gd name="T37" fmla="*/ 549 h 1984"/>
                <a:gd name="T38" fmla="*/ 205 w 1522"/>
                <a:gd name="T39" fmla="*/ 499 h 1984"/>
                <a:gd name="T40" fmla="*/ 178 w 1522"/>
                <a:gd name="T41" fmla="*/ 513 h 1984"/>
                <a:gd name="T42" fmla="*/ 53 w 1522"/>
                <a:gd name="T43" fmla="*/ 648 h 1984"/>
                <a:gd name="T44" fmla="*/ 145 w 1522"/>
                <a:gd name="T45" fmla="*/ 1056 h 1984"/>
                <a:gd name="T46" fmla="*/ 130 w 1522"/>
                <a:gd name="T47" fmla="*/ 1290 h 1984"/>
                <a:gd name="T48" fmla="*/ 270 w 1522"/>
                <a:gd name="T49" fmla="*/ 1354 h 1984"/>
                <a:gd name="T50" fmla="*/ 362 w 1522"/>
                <a:gd name="T51" fmla="*/ 1346 h 1984"/>
                <a:gd name="T52" fmla="*/ 589 w 1522"/>
                <a:gd name="T53" fmla="*/ 1268 h 1984"/>
                <a:gd name="T54" fmla="*/ 718 w 1522"/>
                <a:gd name="T55" fmla="*/ 1327 h 1984"/>
                <a:gd name="T56" fmla="*/ 694 w 1522"/>
                <a:gd name="T57" fmla="*/ 1471 h 1984"/>
                <a:gd name="T58" fmla="*/ 727 w 1522"/>
                <a:gd name="T59" fmla="*/ 1665 h 1984"/>
                <a:gd name="T60" fmla="*/ 756 w 1522"/>
                <a:gd name="T61" fmla="*/ 1766 h 1984"/>
                <a:gd name="T62" fmla="*/ 830 w 1522"/>
                <a:gd name="T63" fmla="*/ 1775 h 1984"/>
                <a:gd name="T64" fmla="*/ 1076 w 1522"/>
                <a:gd name="T65" fmla="*/ 1915 h 1984"/>
                <a:gd name="T66" fmla="*/ 1330 w 1522"/>
                <a:gd name="T67" fmla="*/ 1958 h 1984"/>
                <a:gd name="T68" fmla="*/ 1388 w 1522"/>
                <a:gd name="T69" fmla="*/ 1867 h 1984"/>
                <a:gd name="T70" fmla="*/ 1458 w 1522"/>
                <a:gd name="T71" fmla="*/ 1704 h 1984"/>
                <a:gd name="T72" fmla="*/ 1522 w 1522"/>
                <a:gd name="T73" fmla="*/ 1507 h 1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11" name="Freeform 23">
              <a:extLst>
                <a:ext uri="{FF2B5EF4-FFF2-40B4-BE49-F238E27FC236}">
                  <a16:creationId xmlns:a16="http://schemas.microsoft.com/office/drawing/2014/main" id="{049C706A-94B4-AD42-8E08-6FFE60E47DBE}"/>
                </a:ext>
              </a:extLst>
            </p:cNvPr>
            <p:cNvSpPr>
              <a:spLocks/>
            </p:cNvSpPr>
            <p:nvPr/>
          </p:nvSpPr>
          <p:spPr bwMode="auto">
            <a:xfrm>
              <a:off x="703" y="1579"/>
              <a:ext cx="869" cy="811"/>
            </a:xfrm>
            <a:custGeom>
              <a:avLst/>
              <a:gdLst>
                <a:gd name="T0" fmla="*/ 2295 w 2295"/>
                <a:gd name="T1" fmla="*/ 681 h 2141"/>
                <a:gd name="T2" fmla="*/ 2186 w 2295"/>
                <a:gd name="T3" fmla="*/ 556 h 2141"/>
                <a:gd name="T4" fmla="*/ 2108 w 2295"/>
                <a:gd name="T5" fmla="*/ 403 h 2141"/>
                <a:gd name="T6" fmla="*/ 2055 w 2295"/>
                <a:gd name="T7" fmla="*/ 299 h 2141"/>
                <a:gd name="T8" fmla="*/ 2020 w 2295"/>
                <a:gd name="T9" fmla="*/ 211 h 2141"/>
                <a:gd name="T10" fmla="*/ 2122 w 2295"/>
                <a:gd name="T11" fmla="*/ 46 h 2141"/>
                <a:gd name="T12" fmla="*/ 1994 w 2295"/>
                <a:gd name="T13" fmla="*/ 131 h 2141"/>
                <a:gd name="T14" fmla="*/ 1839 w 2295"/>
                <a:gd name="T15" fmla="*/ 0 h 2141"/>
                <a:gd name="T16" fmla="*/ 1689 w 2295"/>
                <a:gd name="T17" fmla="*/ 59 h 2141"/>
                <a:gd name="T18" fmla="*/ 1620 w 2295"/>
                <a:gd name="T19" fmla="*/ 112 h 2141"/>
                <a:gd name="T20" fmla="*/ 1697 w 2295"/>
                <a:gd name="T21" fmla="*/ 305 h 2141"/>
                <a:gd name="T22" fmla="*/ 1593 w 2295"/>
                <a:gd name="T23" fmla="*/ 393 h 2141"/>
                <a:gd name="T24" fmla="*/ 1340 w 2295"/>
                <a:gd name="T25" fmla="*/ 427 h 2141"/>
                <a:gd name="T26" fmla="*/ 1425 w 2295"/>
                <a:gd name="T27" fmla="*/ 350 h 2141"/>
                <a:gd name="T28" fmla="*/ 1398 w 2295"/>
                <a:gd name="T29" fmla="*/ 190 h 2141"/>
                <a:gd name="T30" fmla="*/ 1294 w 2295"/>
                <a:gd name="T31" fmla="*/ 151 h 2141"/>
                <a:gd name="T32" fmla="*/ 1182 w 2295"/>
                <a:gd name="T33" fmla="*/ 30 h 2141"/>
                <a:gd name="T34" fmla="*/ 1174 w 2295"/>
                <a:gd name="T35" fmla="*/ 78 h 2141"/>
                <a:gd name="T36" fmla="*/ 979 w 2295"/>
                <a:gd name="T37" fmla="*/ 238 h 2141"/>
                <a:gd name="T38" fmla="*/ 797 w 2295"/>
                <a:gd name="T39" fmla="*/ 241 h 2141"/>
                <a:gd name="T40" fmla="*/ 680 w 2295"/>
                <a:gd name="T41" fmla="*/ 374 h 2141"/>
                <a:gd name="T42" fmla="*/ 586 w 2295"/>
                <a:gd name="T43" fmla="*/ 580 h 2141"/>
                <a:gd name="T44" fmla="*/ 390 w 2295"/>
                <a:gd name="T45" fmla="*/ 647 h 2141"/>
                <a:gd name="T46" fmla="*/ 229 w 2295"/>
                <a:gd name="T47" fmla="*/ 640 h 2141"/>
                <a:gd name="T48" fmla="*/ 150 w 2295"/>
                <a:gd name="T49" fmla="*/ 760 h 2141"/>
                <a:gd name="T50" fmla="*/ 248 w 2295"/>
                <a:gd name="T51" fmla="*/ 1101 h 2141"/>
                <a:gd name="T52" fmla="*/ 195 w 2295"/>
                <a:gd name="T53" fmla="*/ 1296 h 2141"/>
                <a:gd name="T54" fmla="*/ 41 w 2295"/>
                <a:gd name="T55" fmla="*/ 1397 h 2141"/>
                <a:gd name="T56" fmla="*/ 133 w 2295"/>
                <a:gd name="T57" fmla="*/ 1629 h 2141"/>
                <a:gd name="T58" fmla="*/ 232 w 2295"/>
                <a:gd name="T59" fmla="*/ 1861 h 2141"/>
                <a:gd name="T60" fmla="*/ 257 w 2295"/>
                <a:gd name="T61" fmla="*/ 1992 h 2141"/>
                <a:gd name="T62" fmla="*/ 292 w 2295"/>
                <a:gd name="T63" fmla="*/ 2105 h 2141"/>
                <a:gd name="T64" fmla="*/ 319 w 2295"/>
                <a:gd name="T65" fmla="*/ 2091 h 2141"/>
                <a:gd name="T66" fmla="*/ 522 w 2295"/>
                <a:gd name="T67" fmla="*/ 2141 h 2141"/>
                <a:gd name="T68" fmla="*/ 543 w 2295"/>
                <a:gd name="T69" fmla="*/ 2014 h 2141"/>
                <a:gd name="T70" fmla="*/ 646 w 2295"/>
                <a:gd name="T71" fmla="*/ 2033 h 2141"/>
                <a:gd name="T72" fmla="*/ 838 w 2295"/>
                <a:gd name="T73" fmla="*/ 1857 h 2141"/>
                <a:gd name="T74" fmla="*/ 960 w 2295"/>
                <a:gd name="T75" fmla="*/ 1857 h 2141"/>
                <a:gd name="T76" fmla="*/ 1130 w 2295"/>
                <a:gd name="T77" fmla="*/ 1746 h 2141"/>
                <a:gd name="T78" fmla="*/ 1205 w 2295"/>
                <a:gd name="T79" fmla="*/ 1676 h 2141"/>
                <a:gd name="T80" fmla="*/ 1257 w 2295"/>
                <a:gd name="T81" fmla="*/ 1592 h 2141"/>
                <a:gd name="T82" fmla="*/ 1332 w 2295"/>
                <a:gd name="T83" fmla="*/ 1682 h 2141"/>
                <a:gd name="T84" fmla="*/ 1431 w 2295"/>
                <a:gd name="T85" fmla="*/ 1838 h 2141"/>
                <a:gd name="T86" fmla="*/ 1449 w 2295"/>
                <a:gd name="T87" fmla="*/ 1744 h 2141"/>
                <a:gd name="T88" fmla="*/ 1531 w 2295"/>
                <a:gd name="T89" fmla="*/ 1648 h 2141"/>
                <a:gd name="T90" fmla="*/ 1704 w 2295"/>
                <a:gd name="T91" fmla="*/ 1508 h 2141"/>
                <a:gd name="T92" fmla="*/ 1816 w 2295"/>
                <a:gd name="T93" fmla="*/ 1434 h 2141"/>
                <a:gd name="T94" fmla="*/ 1819 w 2295"/>
                <a:gd name="T95" fmla="*/ 1270 h 2141"/>
                <a:gd name="T96" fmla="*/ 1734 w 2295"/>
                <a:gd name="T97" fmla="*/ 1251 h 2141"/>
                <a:gd name="T98" fmla="*/ 1964 w 2295"/>
                <a:gd name="T99" fmla="*/ 1155 h 2141"/>
                <a:gd name="T100" fmla="*/ 2027 w 2295"/>
                <a:gd name="T101" fmla="*/ 1032 h 2141"/>
                <a:gd name="T102" fmla="*/ 2208 w 2295"/>
                <a:gd name="T103" fmla="*/ 1015 h 2141"/>
                <a:gd name="T104" fmla="*/ 2278 w 2295"/>
                <a:gd name="T105" fmla="*/ 904 h 2141"/>
                <a:gd name="T106" fmla="*/ 2269 w 2295"/>
                <a:gd name="T107" fmla="*/ 772 h 2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12" name="Freeform 24">
              <a:extLst>
                <a:ext uri="{FF2B5EF4-FFF2-40B4-BE49-F238E27FC236}">
                  <a16:creationId xmlns:a16="http://schemas.microsoft.com/office/drawing/2014/main" id="{EE1E4CF5-0042-0647-BEE5-921F40CA3755}"/>
                </a:ext>
              </a:extLst>
            </p:cNvPr>
            <p:cNvSpPr>
              <a:spLocks noEditPoints="1"/>
            </p:cNvSpPr>
            <p:nvPr/>
          </p:nvSpPr>
          <p:spPr bwMode="auto">
            <a:xfrm>
              <a:off x="1820" y="754"/>
              <a:ext cx="881" cy="611"/>
            </a:xfrm>
            <a:custGeom>
              <a:avLst/>
              <a:gdLst>
                <a:gd name="T0" fmla="*/ 2190 w 2326"/>
                <a:gd name="T1" fmla="*/ 986 h 1612"/>
                <a:gd name="T2" fmla="*/ 1996 w 2326"/>
                <a:gd name="T3" fmla="*/ 901 h 1612"/>
                <a:gd name="T4" fmla="*/ 1913 w 2326"/>
                <a:gd name="T5" fmla="*/ 625 h 1612"/>
                <a:gd name="T6" fmla="*/ 1683 w 2326"/>
                <a:gd name="T7" fmla="*/ 535 h 1612"/>
                <a:gd name="T8" fmla="*/ 1379 w 2326"/>
                <a:gd name="T9" fmla="*/ 344 h 1612"/>
                <a:gd name="T10" fmla="*/ 1124 w 2326"/>
                <a:gd name="T11" fmla="*/ 486 h 1612"/>
                <a:gd name="T12" fmla="*/ 1281 w 2326"/>
                <a:gd name="T13" fmla="*/ 315 h 1612"/>
                <a:gd name="T14" fmla="*/ 1141 w 2326"/>
                <a:gd name="T15" fmla="*/ 305 h 1612"/>
                <a:gd name="T16" fmla="*/ 770 w 2326"/>
                <a:gd name="T17" fmla="*/ 601 h 1612"/>
                <a:gd name="T18" fmla="*/ 635 w 2326"/>
                <a:gd name="T19" fmla="*/ 654 h 1612"/>
                <a:gd name="T20" fmla="*/ 423 w 2326"/>
                <a:gd name="T21" fmla="*/ 808 h 1612"/>
                <a:gd name="T22" fmla="*/ 267 w 2326"/>
                <a:gd name="T23" fmla="*/ 826 h 1612"/>
                <a:gd name="T24" fmla="*/ 139 w 2326"/>
                <a:gd name="T25" fmla="*/ 886 h 1612"/>
                <a:gd name="T26" fmla="*/ 262 w 2326"/>
                <a:gd name="T27" fmla="*/ 1050 h 1612"/>
                <a:gd name="T28" fmla="*/ 174 w 2326"/>
                <a:gd name="T29" fmla="*/ 1225 h 1612"/>
                <a:gd name="T30" fmla="*/ 287 w 2326"/>
                <a:gd name="T31" fmla="*/ 1393 h 1612"/>
                <a:gd name="T32" fmla="*/ 438 w 2326"/>
                <a:gd name="T33" fmla="*/ 1580 h 1612"/>
                <a:gd name="T34" fmla="*/ 634 w 2326"/>
                <a:gd name="T35" fmla="*/ 1588 h 1612"/>
                <a:gd name="T36" fmla="*/ 922 w 2326"/>
                <a:gd name="T37" fmla="*/ 1365 h 1612"/>
                <a:gd name="T38" fmla="*/ 1213 w 2326"/>
                <a:gd name="T39" fmla="*/ 1463 h 1612"/>
                <a:gd name="T40" fmla="*/ 1562 w 2326"/>
                <a:gd name="T41" fmla="*/ 1482 h 1612"/>
                <a:gd name="T42" fmla="*/ 1879 w 2326"/>
                <a:gd name="T43" fmla="*/ 1276 h 1612"/>
                <a:gd name="T44" fmla="*/ 2014 w 2326"/>
                <a:gd name="T45" fmla="*/ 1167 h 1612"/>
                <a:gd name="T46" fmla="*/ 2228 w 2326"/>
                <a:gd name="T47" fmla="*/ 1241 h 1612"/>
                <a:gd name="T48" fmla="*/ 2254 w 2326"/>
                <a:gd name="T49" fmla="*/ 1387 h 1612"/>
                <a:gd name="T50" fmla="*/ 1964 w 2326"/>
                <a:gd name="T51" fmla="*/ 657 h 1612"/>
                <a:gd name="T52" fmla="*/ 2040 w 2326"/>
                <a:gd name="T53" fmla="*/ 747 h 1612"/>
                <a:gd name="T54" fmla="*/ 2034 w 2326"/>
                <a:gd name="T55" fmla="*/ 830 h 1612"/>
                <a:gd name="T56" fmla="*/ 1928 w 2326"/>
                <a:gd name="T57" fmla="*/ 517 h 1612"/>
                <a:gd name="T58" fmla="*/ 1547 w 2326"/>
                <a:gd name="T59" fmla="*/ 268 h 1612"/>
                <a:gd name="T60" fmla="*/ 1535 w 2326"/>
                <a:gd name="T61" fmla="*/ 394 h 1612"/>
                <a:gd name="T62" fmla="*/ 1713 w 2326"/>
                <a:gd name="T63" fmla="*/ 455 h 1612"/>
                <a:gd name="T64" fmla="*/ 1843 w 2326"/>
                <a:gd name="T65" fmla="*/ 338 h 1612"/>
                <a:gd name="T66" fmla="*/ 1834 w 2326"/>
                <a:gd name="T67" fmla="*/ 391 h 1612"/>
                <a:gd name="T68" fmla="*/ 1793 w 2326"/>
                <a:gd name="T69" fmla="*/ 250 h 1612"/>
                <a:gd name="T70" fmla="*/ 1676 w 2326"/>
                <a:gd name="T71" fmla="*/ 2 h 1612"/>
                <a:gd name="T72" fmla="*/ 1604 w 2326"/>
                <a:gd name="T73" fmla="*/ 127 h 1612"/>
                <a:gd name="T74" fmla="*/ 1675 w 2326"/>
                <a:gd name="T75" fmla="*/ 138 h 1612"/>
                <a:gd name="T76" fmla="*/ 1644 w 2326"/>
                <a:gd name="T77" fmla="*/ 178 h 1612"/>
                <a:gd name="T78" fmla="*/ 2017 w 2326"/>
                <a:gd name="T79" fmla="*/ 442 h 1612"/>
                <a:gd name="T80" fmla="*/ 1496 w 2326"/>
                <a:gd name="T81" fmla="*/ 250 h 1612"/>
                <a:gd name="T82" fmla="*/ 543 w 2326"/>
                <a:gd name="T83" fmla="*/ 742 h 1612"/>
                <a:gd name="T84" fmla="*/ 492 w 2326"/>
                <a:gd name="T85" fmla="*/ 754 h 1612"/>
                <a:gd name="T86" fmla="*/ 1486 w 2326"/>
                <a:gd name="T87" fmla="*/ 221 h 1612"/>
                <a:gd name="T88" fmla="*/ 1577 w 2326"/>
                <a:gd name="T89" fmla="*/ 219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chemeClr val="folHlink"/>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13" name="Freeform 25">
              <a:extLst>
                <a:ext uri="{FF2B5EF4-FFF2-40B4-BE49-F238E27FC236}">
                  <a16:creationId xmlns:a16="http://schemas.microsoft.com/office/drawing/2014/main" id="{1F274F75-1042-1045-A93B-3AA03F2246DB}"/>
                </a:ext>
              </a:extLst>
            </p:cNvPr>
            <p:cNvSpPr>
              <a:spLocks noEditPoints="1"/>
            </p:cNvSpPr>
            <p:nvPr/>
          </p:nvSpPr>
          <p:spPr bwMode="auto">
            <a:xfrm>
              <a:off x="1341" y="1027"/>
              <a:ext cx="443" cy="232"/>
            </a:xfrm>
            <a:custGeom>
              <a:avLst/>
              <a:gdLst>
                <a:gd name="T0" fmla="*/ 1125 w 1169"/>
                <a:gd name="T1" fmla="*/ 541 h 613"/>
                <a:gd name="T2" fmla="*/ 1104 w 1169"/>
                <a:gd name="T3" fmla="*/ 491 h 613"/>
                <a:gd name="T4" fmla="*/ 1041 w 1169"/>
                <a:gd name="T5" fmla="*/ 479 h 613"/>
                <a:gd name="T6" fmla="*/ 1035 w 1169"/>
                <a:gd name="T7" fmla="*/ 446 h 613"/>
                <a:gd name="T8" fmla="*/ 1090 w 1169"/>
                <a:gd name="T9" fmla="*/ 417 h 613"/>
                <a:gd name="T10" fmla="*/ 1088 w 1169"/>
                <a:gd name="T11" fmla="*/ 373 h 613"/>
                <a:gd name="T12" fmla="*/ 1065 w 1169"/>
                <a:gd name="T13" fmla="*/ 351 h 613"/>
                <a:gd name="T14" fmla="*/ 1095 w 1169"/>
                <a:gd name="T15" fmla="*/ 282 h 613"/>
                <a:gd name="T16" fmla="*/ 1065 w 1169"/>
                <a:gd name="T17" fmla="*/ 270 h 613"/>
                <a:gd name="T18" fmla="*/ 1002 w 1169"/>
                <a:gd name="T19" fmla="*/ 321 h 613"/>
                <a:gd name="T20" fmla="*/ 963 w 1169"/>
                <a:gd name="T21" fmla="*/ 319 h 613"/>
                <a:gd name="T22" fmla="*/ 967 w 1169"/>
                <a:gd name="T23" fmla="*/ 354 h 613"/>
                <a:gd name="T24" fmla="*/ 910 w 1169"/>
                <a:gd name="T25" fmla="*/ 354 h 613"/>
                <a:gd name="T26" fmla="*/ 886 w 1169"/>
                <a:gd name="T27" fmla="*/ 389 h 613"/>
                <a:gd name="T28" fmla="*/ 815 w 1169"/>
                <a:gd name="T29" fmla="*/ 374 h 613"/>
                <a:gd name="T30" fmla="*/ 724 w 1169"/>
                <a:gd name="T31" fmla="*/ 410 h 613"/>
                <a:gd name="T32" fmla="*/ 834 w 1169"/>
                <a:gd name="T33" fmla="*/ 463 h 613"/>
                <a:gd name="T34" fmla="*/ 751 w 1169"/>
                <a:gd name="T35" fmla="*/ 456 h 613"/>
                <a:gd name="T36" fmla="*/ 844 w 1169"/>
                <a:gd name="T37" fmla="*/ 537 h 613"/>
                <a:gd name="T38" fmla="*/ 910 w 1169"/>
                <a:gd name="T39" fmla="*/ 593 h 613"/>
                <a:gd name="T40" fmla="*/ 976 w 1169"/>
                <a:gd name="T41" fmla="*/ 585 h 613"/>
                <a:gd name="T42" fmla="*/ 1007 w 1169"/>
                <a:gd name="T43" fmla="*/ 548 h 613"/>
                <a:gd name="T44" fmla="*/ 1076 w 1169"/>
                <a:gd name="T45" fmla="*/ 613 h 613"/>
                <a:gd name="T46" fmla="*/ 1167 w 1169"/>
                <a:gd name="T47" fmla="*/ 576 h 613"/>
                <a:gd name="T48" fmla="*/ 1169 w 1169"/>
                <a:gd name="T49" fmla="*/ 542 h 613"/>
                <a:gd name="T50" fmla="*/ 1125 w 1169"/>
                <a:gd name="T51" fmla="*/ 541 h 613"/>
                <a:gd name="T52" fmla="*/ 22 w 1169"/>
                <a:gd name="T53" fmla="*/ 16 h 613"/>
                <a:gd name="T54" fmla="*/ 59 w 1169"/>
                <a:gd name="T55" fmla="*/ 30 h 613"/>
                <a:gd name="T56" fmla="*/ 22 w 1169"/>
                <a:gd name="T57" fmla="*/ 16 h 613"/>
                <a:gd name="T58" fmla="*/ 81 w 1169"/>
                <a:gd name="T59" fmla="*/ 56 h 613"/>
                <a:gd name="T60" fmla="*/ 80 w 1169"/>
                <a:gd name="T61" fmla="*/ 76 h 613"/>
                <a:gd name="T62" fmla="*/ 81 w 1169"/>
                <a:gd name="T63" fmla="*/ 56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14" name="Freeform 26">
              <a:extLst>
                <a:ext uri="{FF2B5EF4-FFF2-40B4-BE49-F238E27FC236}">
                  <a16:creationId xmlns:a16="http://schemas.microsoft.com/office/drawing/2014/main" id="{051650ED-BB20-324C-82DA-F8099E11311F}"/>
                </a:ext>
              </a:extLst>
            </p:cNvPr>
            <p:cNvSpPr>
              <a:spLocks/>
            </p:cNvSpPr>
            <p:nvPr/>
          </p:nvSpPr>
          <p:spPr bwMode="auto">
            <a:xfrm>
              <a:off x="1363" y="1310"/>
              <a:ext cx="114" cy="87"/>
            </a:xfrm>
            <a:custGeom>
              <a:avLst/>
              <a:gdLst>
                <a:gd name="T0" fmla="*/ 0 w 302"/>
                <a:gd name="T1" fmla="*/ 0 h 229"/>
                <a:gd name="T2" fmla="*/ 74 w 302"/>
                <a:gd name="T3" fmla="*/ 10 h 229"/>
                <a:gd name="T4" fmla="*/ 80 w 302"/>
                <a:gd name="T5" fmla="*/ 41 h 229"/>
                <a:gd name="T6" fmla="*/ 130 w 302"/>
                <a:gd name="T7" fmla="*/ 41 h 229"/>
                <a:gd name="T8" fmla="*/ 146 w 302"/>
                <a:gd name="T9" fmla="*/ 76 h 229"/>
                <a:gd name="T10" fmla="*/ 193 w 302"/>
                <a:gd name="T11" fmla="*/ 78 h 229"/>
                <a:gd name="T12" fmla="*/ 220 w 302"/>
                <a:gd name="T13" fmla="*/ 121 h 229"/>
                <a:gd name="T14" fmla="*/ 295 w 302"/>
                <a:gd name="T15" fmla="*/ 86 h 229"/>
                <a:gd name="T16" fmla="*/ 277 w 302"/>
                <a:gd name="T17" fmla="*/ 141 h 229"/>
                <a:gd name="T18" fmla="*/ 289 w 302"/>
                <a:gd name="T19" fmla="*/ 194 h 229"/>
                <a:gd name="T20" fmla="*/ 252 w 302"/>
                <a:gd name="T21" fmla="*/ 229 h 229"/>
                <a:gd name="T22" fmla="*/ 162 w 302"/>
                <a:gd name="T23" fmla="*/ 194 h 229"/>
                <a:gd name="T24" fmla="*/ 121 w 302"/>
                <a:gd name="T25" fmla="*/ 194 h 229"/>
                <a:gd name="T26" fmla="*/ 109 w 302"/>
                <a:gd name="T27" fmla="*/ 153 h 229"/>
                <a:gd name="T28" fmla="*/ 48 w 302"/>
                <a:gd name="T29" fmla="*/ 57 h 229"/>
                <a:gd name="T30" fmla="*/ 19 w 302"/>
                <a:gd name="T31" fmla="*/ 51 h 229"/>
                <a:gd name="T32" fmla="*/ 0 w 302"/>
                <a:gd name="T33"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15" name="Freeform 27">
              <a:extLst>
                <a:ext uri="{FF2B5EF4-FFF2-40B4-BE49-F238E27FC236}">
                  <a16:creationId xmlns:a16="http://schemas.microsoft.com/office/drawing/2014/main" id="{21ED7D0D-2861-6049-8D2D-9C567D4A4C1B}"/>
                </a:ext>
              </a:extLst>
            </p:cNvPr>
            <p:cNvSpPr>
              <a:spLocks noEditPoints="1"/>
            </p:cNvSpPr>
            <p:nvPr/>
          </p:nvSpPr>
          <p:spPr bwMode="auto">
            <a:xfrm>
              <a:off x="1035" y="2607"/>
              <a:ext cx="778" cy="877"/>
            </a:xfrm>
            <a:custGeom>
              <a:avLst/>
              <a:gdLst>
                <a:gd name="T0" fmla="*/ 2006 w 2054"/>
                <a:gd name="T1" fmla="*/ 1062 h 2316"/>
                <a:gd name="T2" fmla="*/ 1874 w 2054"/>
                <a:gd name="T3" fmla="*/ 768 h 2316"/>
                <a:gd name="T4" fmla="*/ 1826 w 2054"/>
                <a:gd name="T5" fmla="*/ 636 h 2316"/>
                <a:gd name="T6" fmla="*/ 1832 w 2054"/>
                <a:gd name="T7" fmla="*/ 420 h 2316"/>
                <a:gd name="T8" fmla="*/ 1736 w 2054"/>
                <a:gd name="T9" fmla="*/ 348 h 2316"/>
                <a:gd name="T10" fmla="*/ 1676 w 2054"/>
                <a:gd name="T11" fmla="*/ 270 h 2316"/>
                <a:gd name="T12" fmla="*/ 1604 w 2054"/>
                <a:gd name="T13" fmla="*/ 126 h 2316"/>
                <a:gd name="T14" fmla="*/ 1514 w 2054"/>
                <a:gd name="T15" fmla="*/ 54 h 2316"/>
                <a:gd name="T16" fmla="*/ 1340 w 2054"/>
                <a:gd name="T17" fmla="*/ 48 h 2316"/>
                <a:gd name="T18" fmla="*/ 1358 w 2054"/>
                <a:gd name="T19" fmla="*/ 192 h 2316"/>
                <a:gd name="T20" fmla="*/ 1244 w 2054"/>
                <a:gd name="T21" fmla="*/ 246 h 2316"/>
                <a:gd name="T22" fmla="*/ 1148 w 2054"/>
                <a:gd name="T23" fmla="*/ 260 h 2316"/>
                <a:gd name="T24" fmla="*/ 1132 w 2054"/>
                <a:gd name="T25" fmla="*/ 277 h 2316"/>
                <a:gd name="T26" fmla="*/ 1073 w 2054"/>
                <a:gd name="T27" fmla="*/ 319 h 2316"/>
                <a:gd name="T28" fmla="*/ 1017 w 2054"/>
                <a:gd name="T29" fmla="*/ 386 h 2316"/>
                <a:gd name="T30" fmla="*/ 948 w 2054"/>
                <a:gd name="T31" fmla="*/ 413 h 2316"/>
                <a:gd name="T32" fmla="*/ 903 w 2054"/>
                <a:gd name="T33" fmla="*/ 303 h 2316"/>
                <a:gd name="T34" fmla="*/ 817 w 2054"/>
                <a:gd name="T35" fmla="*/ 215 h 2316"/>
                <a:gd name="T36" fmla="*/ 791 w 2054"/>
                <a:gd name="T37" fmla="*/ 293 h 2316"/>
                <a:gd name="T38" fmla="*/ 708 w 2054"/>
                <a:gd name="T39" fmla="*/ 242 h 2316"/>
                <a:gd name="T40" fmla="*/ 759 w 2054"/>
                <a:gd name="T41" fmla="*/ 386 h 2316"/>
                <a:gd name="T42" fmla="*/ 695 w 2054"/>
                <a:gd name="T43" fmla="*/ 583 h 2316"/>
                <a:gd name="T44" fmla="*/ 625 w 2054"/>
                <a:gd name="T45" fmla="*/ 746 h 2316"/>
                <a:gd name="T46" fmla="*/ 567 w 2054"/>
                <a:gd name="T47" fmla="*/ 837 h 2316"/>
                <a:gd name="T48" fmla="*/ 543 w 2054"/>
                <a:gd name="T49" fmla="*/ 868 h 2316"/>
                <a:gd name="T50" fmla="*/ 337 w 2054"/>
                <a:gd name="T51" fmla="*/ 1118 h 2316"/>
                <a:gd name="T52" fmla="*/ 187 w 2054"/>
                <a:gd name="T53" fmla="*/ 1445 h 2316"/>
                <a:gd name="T54" fmla="*/ 90 w 2054"/>
                <a:gd name="T55" fmla="*/ 1860 h 2316"/>
                <a:gd name="T56" fmla="*/ 127 w 2054"/>
                <a:gd name="T57" fmla="*/ 2250 h 2316"/>
                <a:gd name="T58" fmla="*/ 370 w 2054"/>
                <a:gd name="T59" fmla="*/ 2289 h 2316"/>
                <a:gd name="T60" fmla="*/ 681 w 2054"/>
                <a:gd name="T61" fmla="*/ 2264 h 2316"/>
                <a:gd name="T62" fmla="*/ 684 w 2054"/>
                <a:gd name="T63" fmla="*/ 2192 h 2316"/>
                <a:gd name="T64" fmla="*/ 730 w 2054"/>
                <a:gd name="T65" fmla="*/ 2064 h 2316"/>
                <a:gd name="T66" fmla="*/ 881 w 2054"/>
                <a:gd name="T67" fmla="*/ 2165 h 2316"/>
                <a:gd name="T68" fmla="*/ 964 w 2054"/>
                <a:gd name="T69" fmla="*/ 2204 h 2316"/>
                <a:gd name="T70" fmla="*/ 1242 w 2054"/>
                <a:gd name="T71" fmla="*/ 2219 h 2316"/>
                <a:gd name="T72" fmla="*/ 1481 w 2054"/>
                <a:gd name="T73" fmla="*/ 2242 h 2316"/>
                <a:gd name="T74" fmla="*/ 1800 w 2054"/>
                <a:gd name="T75" fmla="*/ 2158 h 2316"/>
                <a:gd name="T76" fmla="*/ 1796 w 2054"/>
                <a:gd name="T77" fmla="*/ 1836 h 2316"/>
                <a:gd name="T78" fmla="*/ 1742 w 2054"/>
                <a:gd name="T79" fmla="*/ 1380 h 2316"/>
                <a:gd name="T80" fmla="*/ 1934 w 2054"/>
                <a:gd name="T81" fmla="*/ 1308 h 2316"/>
                <a:gd name="T82" fmla="*/ 2054 w 2054"/>
                <a:gd name="T83" fmla="*/ 1128 h 2316"/>
                <a:gd name="T84" fmla="*/ 796 w 2054"/>
                <a:gd name="T85" fmla="*/ 2175 h 2316"/>
                <a:gd name="T86" fmla="*/ 839 w 2054"/>
                <a:gd name="T87" fmla="*/ 2142 h 2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9116" name="Text Box 28">
              <a:extLst>
                <a:ext uri="{FF2B5EF4-FFF2-40B4-BE49-F238E27FC236}">
                  <a16:creationId xmlns:a16="http://schemas.microsoft.com/office/drawing/2014/main" id="{5E79BE1B-E05D-6A46-817C-1ED1E5BE32D7}"/>
                </a:ext>
              </a:extLst>
            </p:cNvPr>
            <p:cNvSpPr txBox="1">
              <a:spLocks noChangeArrowheads="1"/>
            </p:cNvSpPr>
            <p:nvPr/>
          </p:nvSpPr>
          <p:spPr bwMode="auto">
            <a:xfrm>
              <a:off x="719" y="2414"/>
              <a:ext cx="488" cy="230"/>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Rheinland-</a:t>
              </a:r>
            </a:p>
            <a:p>
              <a:pPr algn="ctr"/>
              <a:r>
                <a:rPr lang="de-DE" altLang="de-DE" sz="900" b="1">
                  <a:solidFill>
                    <a:schemeClr val="bg1"/>
                  </a:solidFill>
                  <a:cs typeface="Arial" panose="020B0604020202020204" pitchFamily="34" charset="0"/>
                </a:rPr>
                <a:t>Pfalz</a:t>
              </a:r>
            </a:p>
          </p:txBody>
        </p:sp>
        <p:sp>
          <p:nvSpPr>
            <p:cNvPr id="89117" name="Text Box 29">
              <a:extLst>
                <a:ext uri="{FF2B5EF4-FFF2-40B4-BE49-F238E27FC236}">
                  <a16:creationId xmlns:a16="http://schemas.microsoft.com/office/drawing/2014/main" id="{D968EF65-CD31-B541-AD5B-734D8685227F}"/>
                </a:ext>
              </a:extLst>
            </p:cNvPr>
            <p:cNvSpPr txBox="1">
              <a:spLocks noChangeArrowheads="1"/>
            </p:cNvSpPr>
            <p:nvPr/>
          </p:nvSpPr>
          <p:spPr bwMode="auto">
            <a:xfrm>
              <a:off x="1270" y="2248"/>
              <a:ext cx="372"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Hessen</a:t>
              </a:r>
            </a:p>
          </p:txBody>
        </p:sp>
        <p:sp>
          <p:nvSpPr>
            <p:cNvPr id="89118" name="Text Box 30">
              <a:extLst>
                <a:ext uri="{FF2B5EF4-FFF2-40B4-BE49-F238E27FC236}">
                  <a16:creationId xmlns:a16="http://schemas.microsoft.com/office/drawing/2014/main" id="{B3F479A8-B3BB-AE4A-BB0D-EE376F9102B9}"/>
                </a:ext>
              </a:extLst>
            </p:cNvPr>
            <p:cNvSpPr txBox="1">
              <a:spLocks noChangeArrowheads="1"/>
            </p:cNvSpPr>
            <p:nvPr/>
          </p:nvSpPr>
          <p:spPr bwMode="auto">
            <a:xfrm>
              <a:off x="1421" y="868"/>
              <a:ext cx="492" cy="230"/>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Schleswig-</a:t>
              </a:r>
            </a:p>
            <a:p>
              <a:pPr algn="ctr"/>
              <a:r>
                <a:rPr lang="de-DE" altLang="de-DE" sz="900" b="1">
                  <a:solidFill>
                    <a:schemeClr val="bg1"/>
                  </a:solidFill>
                  <a:cs typeface="Arial" panose="020B0604020202020204" pitchFamily="34" charset="0"/>
                </a:rPr>
                <a:t>Holstein</a:t>
              </a:r>
            </a:p>
          </p:txBody>
        </p:sp>
        <p:sp>
          <p:nvSpPr>
            <p:cNvPr id="89119" name="Text Box 31">
              <a:extLst>
                <a:ext uri="{FF2B5EF4-FFF2-40B4-BE49-F238E27FC236}">
                  <a16:creationId xmlns:a16="http://schemas.microsoft.com/office/drawing/2014/main" id="{BEB8B738-71B7-9A49-9442-F7CD3292AF1E}"/>
                </a:ext>
              </a:extLst>
            </p:cNvPr>
            <p:cNvSpPr txBox="1">
              <a:spLocks noChangeArrowheads="1"/>
            </p:cNvSpPr>
            <p:nvPr/>
          </p:nvSpPr>
          <p:spPr bwMode="auto">
            <a:xfrm>
              <a:off x="1939" y="2825"/>
              <a:ext cx="360"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Bayern</a:t>
              </a:r>
            </a:p>
          </p:txBody>
        </p:sp>
        <p:sp>
          <p:nvSpPr>
            <p:cNvPr id="89120" name="Text Box 32">
              <a:extLst>
                <a:ext uri="{FF2B5EF4-FFF2-40B4-BE49-F238E27FC236}">
                  <a16:creationId xmlns:a16="http://schemas.microsoft.com/office/drawing/2014/main" id="{74103B61-B020-5640-BD6A-B49024206714}"/>
                </a:ext>
              </a:extLst>
            </p:cNvPr>
            <p:cNvSpPr txBox="1">
              <a:spLocks noChangeArrowheads="1"/>
            </p:cNvSpPr>
            <p:nvPr/>
          </p:nvSpPr>
          <p:spPr bwMode="auto">
            <a:xfrm>
              <a:off x="2320" y="2039"/>
              <a:ext cx="412" cy="144"/>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Sachsen</a:t>
              </a:r>
            </a:p>
          </p:txBody>
        </p:sp>
        <p:sp>
          <p:nvSpPr>
            <p:cNvPr id="89121" name="Text Box 33">
              <a:extLst>
                <a:ext uri="{FF2B5EF4-FFF2-40B4-BE49-F238E27FC236}">
                  <a16:creationId xmlns:a16="http://schemas.microsoft.com/office/drawing/2014/main" id="{64EF058F-4E0F-E749-ACEE-72F1C9DD3E48}"/>
                </a:ext>
              </a:extLst>
            </p:cNvPr>
            <p:cNvSpPr txBox="1">
              <a:spLocks noChangeArrowheads="1"/>
            </p:cNvSpPr>
            <p:nvPr/>
          </p:nvSpPr>
          <p:spPr bwMode="auto">
            <a:xfrm>
              <a:off x="844" y="1880"/>
              <a:ext cx="484" cy="230"/>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Nordrhein-</a:t>
              </a:r>
            </a:p>
            <a:p>
              <a:pPr algn="ctr"/>
              <a:r>
                <a:rPr lang="de-DE" altLang="de-DE" sz="900" b="1">
                  <a:solidFill>
                    <a:schemeClr val="bg1"/>
                  </a:solidFill>
                  <a:cs typeface="Arial" panose="020B0604020202020204" pitchFamily="34" charset="0"/>
                </a:rPr>
                <a:t>Westfalen</a:t>
              </a:r>
            </a:p>
          </p:txBody>
        </p:sp>
        <p:sp>
          <p:nvSpPr>
            <p:cNvPr id="89122" name="Text Box 34">
              <a:extLst>
                <a:ext uri="{FF2B5EF4-FFF2-40B4-BE49-F238E27FC236}">
                  <a16:creationId xmlns:a16="http://schemas.microsoft.com/office/drawing/2014/main" id="{6A2A4BF5-60B2-5C4E-BC35-9DCBC7A4AA9E}"/>
                </a:ext>
              </a:extLst>
            </p:cNvPr>
            <p:cNvSpPr txBox="1">
              <a:spLocks noChangeArrowheads="1"/>
            </p:cNvSpPr>
            <p:nvPr/>
          </p:nvSpPr>
          <p:spPr bwMode="auto">
            <a:xfrm>
              <a:off x="794" y="2705"/>
              <a:ext cx="420"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algn="ctr"/>
              <a:r>
                <a:rPr lang="de-DE" altLang="de-DE" sz="900" b="1">
                  <a:solidFill>
                    <a:schemeClr val="bg1"/>
                  </a:solidFill>
                  <a:cs typeface="Arial" panose="020B0604020202020204" pitchFamily="34" charset="0"/>
                </a:rPr>
                <a:t>Saarland</a:t>
              </a:r>
            </a:p>
          </p:txBody>
        </p:sp>
        <p:sp>
          <p:nvSpPr>
            <p:cNvPr id="89123" name="Text Box 35">
              <a:extLst>
                <a:ext uri="{FF2B5EF4-FFF2-40B4-BE49-F238E27FC236}">
                  <a16:creationId xmlns:a16="http://schemas.microsoft.com/office/drawing/2014/main" id="{3ECF4D24-317E-CA46-A2B2-DB0F7D111DFD}"/>
                </a:ext>
              </a:extLst>
            </p:cNvPr>
            <p:cNvSpPr txBox="1">
              <a:spLocks noChangeArrowheads="1"/>
            </p:cNvSpPr>
            <p:nvPr/>
          </p:nvSpPr>
          <p:spPr bwMode="auto">
            <a:xfrm>
              <a:off x="1293" y="1253"/>
              <a:ext cx="384"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spcBef>
                  <a:spcPct val="50000"/>
                </a:spcBef>
              </a:pPr>
              <a:r>
                <a:rPr lang="de-DE" altLang="de-DE" sz="900" b="1">
                  <a:solidFill>
                    <a:schemeClr val="bg1"/>
                  </a:solidFill>
                  <a:cs typeface="Arial" panose="020B0604020202020204" pitchFamily="34" charset="0"/>
                </a:rPr>
                <a:t>Bremen</a:t>
              </a:r>
            </a:p>
          </p:txBody>
        </p:sp>
        <p:sp>
          <p:nvSpPr>
            <p:cNvPr id="89124" name="Text Box 36">
              <a:extLst>
                <a:ext uri="{FF2B5EF4-FFF2-40B4-BE49-F238E27FC236}">
                  <a16:creationId xmlns:a16="http://schemas.microsoft.com/office/drawing/2014/main" id="{3B8D735A-FFA3-204E-96BC-EFCC553A2887}"/>
                </a:ext>
              </a:extLst>
            </p:cNvPr>
            <p:cNvSpPr txBox="1">
              <a:spLocks noChangeArrowheads="1"/>
            </p:cNvSpPr>
            <p:nvPr/>
          </p:nvSpPr>
          <p:spPr bwMode="auto">
            <a:xfrm>
              <a:off x="1520" y="1117"/>
              <a:ext cx="432"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Hamburg</a:t>
              </a:r>
            </a:p>
          </p:txBody>
        </p:sp>
        <p:sp>
          <p:nvSpPr>
            <p:cNvPr id="89125" name="Text Box 37">
              <a:extLst>
                <a:ext uri="{FF2B5EF4-FFF2-40B4-BE49-F238E27FC236}">
                  <a16:creationId xmlns:a16="http://schemas.microsoft.com/office/drawing/2014/main" id="{8BD6D10C-DE51-FB4F-898F-D4272C702CDB}"/>
                </a:ext>
              </a:extLst>
            </p:cNvPr>
            <p:cNvSpPr txBox="1">
              <a:spLocks noChangeArrowheads="1"/>
            </p:cNvSpPr>
            <p:nvPr/>
          </p:nvSpPr>
          <p:spPr bwMode="auto">
            <a:xfrm>
              <a:off x="1157" y="1389"/>
              <a:ext cx="628"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Niedersachsen</a:t>
              </a:r>
            </a:p>
          </p:txBody>
        </p:sp>
        <p:sp>
          <p:nvSpPr>
            <p:cNvPr id="89126" name="Text Box 38">
              <a:extLst>
                <a:ext uri="{FF2B5EF4-FFF2-40B4-BE49-F238E27FC236}">
                  <a16:creationId xmlns:a16="http://schemas.microsoft.com/office/drawing/2014/main" id="{9FC37AC3-F136-E045-A277-6C5FBC5268C7}"/>
                </a:ext>
              </a:extLst>
            </p:cNvPr>
            <p:cNvSpPr txBox="1">
              <a:spLocks noChangeArrowheads="1"/>
            </p:cNvSpPr>
            <p:nvPr/>
          </p:nvSpPr>
          <p:spPr bwMode="auto">
            <a:xfrm>
              <a:off x="1144" y="2994"/>
              <a:ext cx="564" cy="230"/>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Baden-</a:t>
              </a:r>
            </a:p>
            <a:p>
              <a:pPr algn="ctr"/>
              <a:r>
                <a:rPr lang="de-DE" altLang="de-DE" sz="900" b="1">
                  <a:solidFill>
                    <a:schemeClr val="bg1"/>
                  </a:solidFill>
                  <a:cs typeface="Arial" panose="020B0604020202020204" pitchFamily="34" charset="0"/>
                </a:rPr>
                <a:t>Württemberg</a:t>
              </a:r>
            </a:p>
          </p:txBody>
        </p:sp>
        <p:sp>
          <p:nvSpPr>
            <p:cNvPr id="89127" name="Text Box 39">
              <a:extLst>
                <a:ext uri="{FF2B5EF4-FFF2-40B4-BE49-F238E27FC236}">
                  <a16:creationId xmlns:a16="http://schemas.microsoft.com/office/drawing/2014/main" id="{EE68A588-C3A9-7546-945F-E2C05C5A1EF8}"/>
                </a:ext>
              </a:extLst>
            </p:cNvPr>
            <p:cNvSpPr txBox="1">
              <a:spLocks noChangeArrowheads="1"/>
            </p:cNvSpPr>
            <p:nvPr/>
          </p:nvSpPr>
          <p:spPr bwMode="auto">
            <a:xfrm>
              <a:off x="1882" y="1525"/>
              <a:ext cx="436" cy="230"/>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Sachsen-</a:t>
              </a:r>
            </a:p>
            <a:p>
              <a:pPr algn="ctr"/>
              <a:r>
                <a:rPr lang="de-DE" altLang="de-DE" sz="900" b="1">
                  <a:solidFill>
                    <a:schemeClr val="bg1"/>
                  </a:solidFill>
                  <a:cs typeface="Arial" panose="020B0604020202020204" pitchFamily="34" charset="0"/>
                </a:rPr>
                <a:t>Anhalt</a:t>
              </a:r>
            </a:p>
          </p:txBody>
        </p:sp>
        <p:sp>
          <p:nvSpPr>
            <p:cNvPr id="89128" name="Text Box 40">
              <a:extLst>
                <a:ext uri="{FF2B5EF4-FFF2-40B4-BE49-F238E27FC236}">
                  <a16:creationId xmlns:a16="http://schemas.microsoft.com/office/drawing/2014/main" id="{85D9AD9F-EDC1-594B-8F7B-B897C5114E9C}"/>
                </a:ext>
              </a:extLst>
            </p:cNvPr>
            <p:cNvSpPr txBox="1">
              <a:spLocks noChangeArrowheads="1"/>
            </p:cNvSpPr>
            <p:nvPr/>
          </p:nvSpPr>
          <p:spPr bwMode="auto">
            <a:xfrm>
              <a:off x="1740" y="2148"/>
              <a:ext cx="468"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Thüringen</a:t>
              </a:r>
            </a:p>
          </p:txBody>
        </p:sp>
        <p:sp>
          <p:nvSpPr>
            <p:cNvPr id="89129" name="Text Box 41">
              <a:extLst>
                <a:ext uri="{FF2B5EF4-FFF2-40B4-BE49-F238E27FC236}">
                  <a16:creationId xmlns:a16="http://schemas.microsoft.com/office/drawing/2014/main" id="{917E3951-9E6F-564C-9754-357D857FACBE}"/>
                </a:ext>
              </a:extLst>
            </p:cNvPr>
            <p:cNvSpPr txBox="1">
              <a:spLocks noChangeArrowheads="1"/>
            </p:cNvSpPr>
            <p:nvPr/>
          </p:nvSpPr>
          <p:spPr bwMode="auto">
            <a:xfrm>
              <a:off x="1953" y="1041"/>
              <a:ext cx="584" cy="230"/>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Mecklenburg-</a:t>
              </a:r>
            </a:p>
            <a:p>
              <a:pPr algn="ctr"/>
              <a:r>
                <a:rPr lang="de-DE" altLang="de-DE" sz="900" b="1">
                  <a:solidFill>
                    <a:schemeClr val="bg1"/>
                  </a:solidFill>
                  <a:cs typeface="Arial" panose="020B0604020202020204" pitchFamily="34" charset="0"/>
                </a:rPr>
                <a:t>Vorpommern</a:t>
              </a:r>
            </a:p>
          </p:txBody>
        </p:sp>
        <p:sp>
          <p:nvSpPr>
            <p:cNvPr id="89130" name="Text Box 42">
              <a:extLst>
                <a:ext uri="{FF2B5EF4-FFF2-40B4-BE49-F238E27FC236}">
                  <a16:creationId xmlns:a16="http://schemas.microsoft.com/office/drawing/2014/main" id="{69E6A8BC-B63A-124D-A8AB-F5CE9F9870A0}"/>
                </a:ext>
              </a:extLst>
            </p:cNvPr>
            <p:cNvSpPr txBox="1">
              <a:spLocks noChangeArrowheads="1"/>
            </p:cNvSpPr>
            <p:nvPr/>
          </p:nvSpPr>
          <p:spPr bwMode="auto">
            <a:xfrm>
              <a:off x="2339" y="1498"/>
              <a:ext cx="320" cy="144"/>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Berlin</a:t>
              </a:r>
            </a:p>
          </p:txBody>
        </p:sp>
        <p:sp>
          <p:nvSpPr>
            <p:cNvPr id="89131" name="Text Box 43">
              <a:extLst>
                <a:ext uri="{FF2B5EF4-FFF2-40B4-BE49-F238E27FC236}">
                  <a16:creationId xmlns:a16="http://schemas.microsoft.com/office/drawing/2014/main" id="{C505B8B9-75F2-5445-8C56-35084A4E2F6C}"/>
                </a:ext>
              </a:extLst>
            </p:cNvPr>
            <p:cNvSpPr txBox="1">
              <a:spLocks noChangeArrowheads="1"/>
            </p:cNvSpPr>
            <p:nvPr/>
          </p:nvSpPr>
          <p:spPr bwMode="auto">
            <a:xfrm>
              <a:off x="2258" y="1647"/>
              <a:ext cx="568"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Brandenburg</a:t>
              </a:r>
            </a:p>
          </p:txBody>
        </p:sp>
      </p:grpSp>
      <p:sp>
        <p:nvSpPr>
          <p:cNvPr id="89134" name="AutoShape 46">
            <a:extLst>
              <a:ext uri="{FF2B5EF4-FFF2-40B4-BE49-F238E27FC236}">
                <a16:creationId xmlns:a16="http://schemas.microsoft.com/office/drawing/2014/main" id="{668DE9E9-4A64-1B40-A932-89CAF0902B2C}"/>
              </a:ext>
            </a:extLst>
          </p:cNvPr>
          <p:cNvSpPr>
            <a:spLocks noChangeArrowheads="1"/>
          </p:cNvSpPr>
          <p:nvPr/>
        </p:nvSpPr>
        <p:spPr bwMode="auto">
          <a:xfrm>
            <a:off x="2195513" y="2060575"/>
            <a:ext cx="1727200" cy="576263"/>
          </a:xfrm>
          <a:prstGeom prst="rightArrow">
            <a:avLst>
              <a:gd name="adj1" fmla="val 50000"/>
              <a:gd name="adj2" fmla="val 74931"/>
            </a:avLst>
          </a:prstGeom>
          <a:solidFill>
            <a:srgbClr val="99FF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de-DE" altLang="de-DE" b="1"/>
              <a:t>8.300</a:t>
            </a:r>
          </a:p>
        </p:txBody>
      </p:sp>
      <p:sp>
        <p:nvSpPr>
          <p:cNvPr id="89135" name="AutoShape 47">
            <a:extLst>
              <a:ext uri="{FF2B5EF4-FFF2-40B4-BE49-F238E27FC236}">
                <a16:creationId xmlns:a16="http://schemas.microsoft.com/office/drawing/2014/main" id="{97948E44-B470-AF4B-98F6-6665E36BFDF1}"/>
              </a:ext>
            </a:extLst>
          </p:cNvPr>
          <p:cNvSpPr>
            <a:spLocks noChangeArrowheads="1"/>
          </p:cNvSpPr>
          <p:nvPr/>
        </p:nvSpPr>
        <p:spPr bwMode="auto">
          <a:xfrm flipH="1">
            <a:off x="1763713" y="2636838"/>
            <a:ext cx="2232025" cy="1008062"/>
          </a:xfrm>
          <a:prstGeom prst="rightArrow">
            <a:avLst>
              <a:gd name="adj1" fmla="val 50000"/>
              <a:gd name="adj2" fmla="val 55354"/>
            </a:avLst>
          </a:prstGeom>
          <a:solidFill>
            <a:srgbClr val="FF66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de-DE" altLang="de-DE" b="1"/>
              <a:t>13.400</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89134"/>
                                        </p:tgtEl>
                                        <p:attrNameLst>
                                          <p:attrName>style.visibility</p:attrName>
                                        </p:attrNameLst>
                                      </p:cBhvr>
                                      <p:to>
                                        <p:strVal val="visible"/>
                                      </p:to>
                                    </p:set>
                                    <p:anim calcmode="lin" valueType="num">
                                      <p:cBhvr additive="base">
                                        <p:cTn id="7" dur="500" fill="hold"/>
                                        <p:tgtEl>
                                          <p:spTgt spid="89134"/>
                                        </p:tgtEl>
                                        <p:attrNameLst>
                                          <p:attrName>ppt_x</p:attrName>
                                        </p:attrNameLst>
                                      </p:cBhvr>
                                      <p:tavLst>
                                        <p:tav tm="0">
                                          <p:val>
                                            <p:strVal val="0-#ppt_w/2"/>
                                          </p:val>
                                        </p:tav>
                                        <p:tav tm="100000">
                                          <p:val>
                                            <p:strVal val="#ppt_x"/>
                                          </p:val>
                                        </p:tav>
                                      </p:tavLst>
                                    </p:anim>
                                    <p:anim calcmode="lin" valueType="num">
                                      <p:cBhvr additive="base">
                                        <p:cTn id="8" dur="500" fill="hold"/>
                                        <p:tgtEl>
                                          <p:spTgt spid="89134"/>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89135"/>
                                        </p:tgtEl>
                                        <p:attrNameLst>
                                          <p:attrName>style.visibility</p:attrName>
                                        </p:attrNameLst>
                                      </p:cBhvr>
                                      <p:to>
                                        <p:strVal val="visible"/>
                                      </p:to>
                                    </p:set>
                                    <p:anim calcmode="lin" valueType="num">
                                      <p:cBhvr additive="base">
                                        <p:cTn id="13" dur="500" fill="hold"/>
                                        <p:tgtEl>
                                          <p:spTgt spid="89135"/>
                                        </p:tgtEl>
                                        <p:attrNameLst>
                                          <p:attrName>ppt_x</p:attrName>
                                        </p:attrNameLst>
                                      </p:cBhvr>
                                      <p:tavLst>
                                        <p:tav tm="0">
                                          <p:val>
                                            <p:strVal val="1+#ppt_w/2"/>
                                          </p:val>
                                        </p:tav>
                                        <p:tav tm="100000">
                                          <p:val>
                                            <p:strVal val="#ppt_x"/>
                                          </p:val>
                                        </p:tav>
                                      </p:tavLst>
                                    </p:anim>
                                    <p:anim calcmode="lin" valueType="num">
                                      <p:cBhvr additive="base">
                                        <p:cTn id="14" dur="500" fill="hold"/>
                                        <p:tgtEl>
                                          <p:spTgt spid="8913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134" grpId="0" animBg="1"/>
      <p:bldP spid="8913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ußzeilenplatzhalter 3">
            <a:extLst>
              <a:ext uri="{FF2B5EF4-FFF2-40B4-BE49-F238E27FC236}">
                <a16:creationId xmlns:a16="http://schemas.microsoft.com/office/drawing/2014/main" id="{2309EA79-D08A-D34A-88CC-F5E36D199D7B}"/>
              </a:ext>
            </a:extLst>
          </p:cNvPr>
          <p:cNvSpPr>
            <a:spLocks noGrp="1"/>
          </p:cNvSpPr>
          <p:nvPr>
            <p:ph type="ftr" sz="quarter" idx="10"/>
          </p:nvPr>
        </p:nvSpPr>
        <p:spPr/>
        <p:txBody>
          <a:bodyPr/>
          <a:lstStyle/>
          <a:p>
            <a:r>
              <a:rPr lang="de-DE" altLang="de-DE"/>
              <a:t>Studienanfängerhoch und Mobilität | Detlef Müller-Böling | 27.08.2007</a:t>
            </a:r>
          </a:p>
        </p:txBody>
      </p:sp>
      <p:sp>
        <p:nvSpPr>
          <p:cNvPr id="45" name="Foliennummernplatzhalter 4">
            <a:extLst>
              <a:ext uri="{FF2B5EF4-FFF2-40B4-BE49-F238E27FC236}">
                <a16:creationId xmlns:a16="http://schemas.microsoft.com/office/drawing/2014/main" id="{0348121B-EB26-ED41-8660-EE3981B51B4A}"/>
              </a:ext>
            </a:extLst>
          </p:cNvPr>
          <p:cNvSpPr>
            <a:spLocks noGrp="1"/>
          </p:cNvSpPr>
          <p:nvPr>
            <p:ph type="sldNum" sz="quarter" idx="11"/>
          </p:nvPr>
        </p:nvSpPr>
        <p:spPr/>
        <p:txBody>
          <a:bodyPr/>
          <a:lstStyle/>
          <a:p>
            <a:fld id="{12481023-BFEB-EB48-9E84-256679043817}" type="slidenum">
              <a:rPr lang="de-DE" altLang="de-DE"/>
              <a:pPr/>
              <a:t>15</a:t>
            </a:fld>
            <a:endParaRPr lang="de-DE" altLang="de-DE"/>
          </a:p>
        </p:txBody>
      </p:sp>
      <p:sp>
        <p:nvSpPr>
          <p:cNvPr id="93186" name="Rectangle 2">
            <a:extLst>
              <a:ext uri="{FF2B5EF4-FFF2-40B4-BE49-F238E27FC236}">
                <a16:creationId xmlns:a16="http://schemas.microsoft.com/office/drawing/2014/main" id="{87A695DE-8243-0245-A40B-9E67D0F71DEC}"/>
              </a:ext>
            </a:extLst>
          </p:cNvPr>
          <p:cNvSpPr>
            <a:spLocks noGrp="1" noChangeArrowheads="1"/>
          </p:cNvSpPr>
          <p:nvPr>
            <p:ph type="title"/>
          </p:nvPr>
        </p:nvSpPr>
        <p:spPr/>
        <p:txBody>
          <a:bodyPr/>
          <a:lstStyle/>
          <a:p>
            <a:r>
              <a:rPr lang="de-DE" altLang="de-DE"/>
              <a:t>Innerdeutsche Mobilität</a:t>
            </a:r>
          </a:p>
        </p:txBody>
      </p:sp>
      <p:grpSp>
        <p:nvGrpSpPr>
          <p:cNvPr id="93187" name="Group 3">
            <a:extLst>
              <a:ext uri="{FF2B5EF4-FFF2-40B4-BE49-F238E27FC236}">
                <a16:creationId xmlns:a16="http://schemas.microsoft.com/office/drawing/2014/main" id="{C68883B5-6D90-1B46-B4C7-69C1962C960F}"/>
              </a:ext>
            </a:extLst>
          </p:cNvPr>
          <p:cNvGrpSpPr>
            <a:grpSpLocks/>
          </p:cNvGrpSpPr>
          <p:nvPr/>
        </p:nvGrpSpPr>
        <p:grpSpPr bwMode="auto">
          <a:xfrm>
            <a:off x="4643438" y="4724400"/>
            <a:ext cx="2881312" cy="612775"/>
            <a:chOff x="3787" y="2795"/>
            <a:chExt cx="1815" cy="386"/>
          </a:xfrm>
        </p:grpSpPr>
        <p:sp>
          <p:nvSpPr>
            <p:cNvPr id="93188" name="Text Box 4">
              <a:extLst>
                <a:ext uri="{FF2B5EF4-FFF2-40B4-BE49-F238E27FC236}">
                  <a16:creationId xmlns:a16="http://schemas.microsoft.com/office/drawing/2014/main" id="{5B983758-8E9F-6142-9569-07CD7EEAE83A}"/>
                </a:ext>
              </a:extLst>
            </p:cNvPr>
            <p:cNvSpPr txBox="1">
              <a:spLocks noChangeArrowheads="1"/>
            </p:cNvSpPr>
            <p:nvPr>
              <p:custDataLst>
                <p:tags r:id="rId1"/>
              </p:custDataLst>
            </p:nvPr>
          </p:nvSpPr>
          <p:spPr bwMode="auto">
            <a:xfrm>
              <a:off x="3928" y="2989"/>
              <a:ext cx="1583" cy="192"/>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40000"/>
                </a:spcBef>
              </a:pPr>
              <a:r>
                <a:rPr lang="de-DE" altLang="de-DE" sz="1400" b="1">
                  <a:solidFill>
                    <a:schemeClr val="bg2"/>
                  </a:solidFill>
                  <a:cs typeface="Arial" panose="020B0604020202020204" pitchFamily="34" charset="0"/>
                </a:rPr>
                <a:t>fehlende Studienplätze</a:t>
              </a:r>
            </a:p>
          </p:txBody>
        </p:sp>
        <p:sp>
          <p:nvSpPr>
            <p:cNvPr id="93189" name="Rectangle 5">
              <a:extLst>
                <a:ext uri="{FF2B5EF4-FFF2-40B4-BE49-F238E27FC236}">
                  <a16:creationId xmlns:a16="http://schemas.microsoft.com/office/drawing/2014/main" id="{6A7F2F4D-885D-7048-8426-82FCF31E8BB5}"/>
                </a:ext>
              </a:extLst>
            </p:cNvPr>
            <p:cNvSpPr>
              <a:spLocks noChangeArrowheads="1"/>
            </p:cNvSpPr>
            <p:nvPr>
              <p:custDataLst>
                <p:tags r:id="rId2"/>
              </p:custDataLst>
            </p:nvPr>
          </p:nvSpPr>
          <p:spPr bwMode="auto">
            <a:xfrm>
              <a:off x="3787" y="3026"/>
              <a:ext cx="122" cy="123"/>
            </a:xfrm>
            <a:prstGeom prst="rect">
              <a:avLst/>
            </a:prstGeom>
            <a:solidFill>
              <a:srgbClr val="FF5050"/>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93190" name="Rectangle 6">
              <a:extLst>
                <a:ext uri="{FF2B5EF4-FFF2-40B4-BE49-F238E27FC236}">
                  <a16:creationId xmlns:a16="http://schemas.microsoft.com/office/drawing/2014/main" id="{F37E1811-A03B-2545-95F7-706FCB2AFFAF}"/>
                </a:ext>
              </a:extLst>
            </p:cNvPr>
            <p:cNvSpPr>
              <a:spLocks noChangeArrowheads="1"/>
            </p:cNvSpPr>
            <p:nvPr>
              <p:custDataLst>
                <p:tags r:id="rId3"/>
              </p:custDataLst>
            </p:nvPr>
          </p:nvSpPr>
          <p:spPr bwMode="auto">
            <a:xfrm>
              <a:off x="3787" y="2832"/>
              <a:ext cx="122" cy="123"/>
            </a:xfrm>
            <a:prstGeom prst="rect">
              <a:avLst/>
            </a:prstGeom>
            <a:solidFill>
              <a:schemeClr val="folHlink"/>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93191" name="Text Box 7">
              <a:extLst>
                <a:ext uri="{FF2B5EF4-FFF2-40B4-BE49-F238E27FC236}">
                  <a16:creationId xmlns:a16="http://schemas.microsoft.com/office/drawing/2014/main" id="{6D92CA48-9602-4F47-886E-0A4B9BCF77F3}"/>
                </a:ext>
              </a:extLst>
            </p:cNvPr>
            <p:cNvSpPr txBox="1">
              <a:spLocks noChangeArrowheads="1"/>
            </p:cNvSpPr>
            <p:nvPr>
              <p:custDataLst>
                <p:tags r:id="rId4"/>
              </p:custDataLst>
            </p:nvPr>
          </p:nvSpPr>
          <p:spPr bwMode="auto">
            <a:xfrm>
              <a:off x="3928" y="2795"/>
              <a:ext cx="1674" cy="192"/>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12700">
                  <a:solidFill>
                    <a:srgbClr val="0C3C6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40000"/>
                </a:spcBef>
              </a:pPr>
              <a:r>
                <a:rPr lang="de-DE" altLang="de-DE" sz="1400" b="1">
                  <a:solidFill>
                    <a:schemeClr val="bg2"/>
                  </a:solidFill>
                  <a:cs typeface="Arial" panose="020B0604020202020204" pitchFamily="34" charset="0"/>
                </a:rPr>
                <a:t>freie Studienplätze</a:t>
              </a:r>
              <a:endParaRPr lang="de-DE" altLang="de-DE" sz="1400" b="1">
                <a:cs typeface="Arial" panose="020B0604020202020204" pitchFamily="34" charset="0"/>
              </a:endParaRPr>
            </a:p>
          </p:txBody>
        </p:sp>
      </p:grpSp>
      <p:grpSp>
        <p:nvGrpSpPr>
          <p:cNvPr id="93193" name="Group 9">
            <a:extLst>
              <a:ext uri="{FF2B5EF4-FFF2-40B4-BE49-F238E27FC236}">
                <a16:creationId xmlns:a16="http://schemas.microsoft.com/office/drawing/2014/main" id="{C61F04AE-ABCD-0C4A-BC97-314D28929F5D}"/>
              </a:ext>
            </a:extLst>
          </p:cNvPr>
          <p:cNvGrpSpPr>
            <a:grpSpLocks/>
          </p:cNvGrpSpPr>
          <p:nvPr/>
        </p:nvGrpSpPr>
        <p:grpSpPr bwMode="auto">
          <a:xfrm>
            <a:off x="1116013" y="981075"/>
            <a:ext cx="3484562" cy="4718050"/>
            <a:chOff x="703" y="618"/>
            <a:chExt cx="2195" cy="2972"/>
          </a:xfrm>
        </p:grpSpPr>
        <p:sp>
          <p:nvSpPr>
            <p:cNvPr id="93194" name="Freeform 10">
              <a:extLst>
                <a:ext uri="{FF2B5EF4-FFF2-40B4-BE49-F238E27FC236}">
                  <a16:creationId xmlns:a16="http://schemas.microsoft.com/office/drawing/2014/main" id="{CDFBF6DD-9A65-9742-8868-9D820AE483C0}"/>
                </a:ext>
              </a:extLst>
            </p:cNvPr>
            <p:cNvSpPr>
              <a:spLocks noEditPoints="1"/>
            </p:cNvSpPr>
            <p:nvPr/>
          </p:nvSpPr>
          <p:spPr bwMode="auto">
            <a:xfrm>
              <a:off x="1231" y="618"/>
              <a:ext cx="766" cy="653"/>
            </a:xfrm>
            <a:custGeom>
              <a:avLst/>
              <a:gdLst>
                <a:gd name="T0" fmla="*/ 1601 w 2022"/>
                <a:gd name="T1" fmla="*/ 732 h 1722"/>
                <a:gd name="T2" fmla="*/ 1355 w 2022"/>
                <a:gd name="T3" fmla="*/ 643 h 1722"/>
                <a:gd name="T4" fmla="*/ 1240 w 2022"/>
                <a:gd name="T5" fmla="*/ 344 h 1722"/>
                <a:gd name="T6" fmla="*/ 921 w 2022"/>
                <a:gd name="T7" fmla="*/ 270 h 1722"/>
                <a:gd name="T8" fmla="*/ 525 w 2022"/>
                <a:gd name="T9" fmla="*/ 172 h 1722"/>
                <a:gd name="T10" fmla="*/ 553 w 2022"/>
                <a:gd name="T11" fmla="*/ 484 h 1722"/>
                <a:gd name="T12" fmla="*/ 644 w 2022"/>
                <a:gd name="T13" fmla="*/ 578 h 1722"/>
                <a:gd name="T14" fmla="*/ 459 w 2022"/>
                <a:gd name="T15" fmla="*/ 720 h 1722"/>
                <a:gd name="T16" fmla="*/ 618 w 2022"/>
                <a:gd name="T17" fmla="*/ 990 h 1722"/>
                <a:gd name="T18" fmla="*/ 779 w 2022"/>
                <a:gd name="T19" fmla="*/ 1184 h 1722"/>
                <a:gd name="T20" fmla="*/ 1106 w 2022"/>
                <a:gd name="T21" fmla="*/ 1451 h 1722"/>
                <a:gd name="T22" fmla="*/ 1258 w 2022"/>
                <a:gd name="T23" fmla="*/ 1431 h 1722"/>
                <a:gd name="T24" fmla="*/ 1356 w 2022"/>
                <a:gd name="T25" fmla="*/ 1347 h 1722"/>
                <a:gd name="T26" fmla="*/ 1379 w 2022"/>
                <a:gd name="T27" fmla="*/ 1450 h 1722"/>
                <a:gd name="T28" fmla="*/ 1332 w 2022"/>
                <a:gd name="T29" fmla="*/ 1556 h 1722"/>
                <a:gd name="T30" fmla="*/ 1460 w 2022"/>
                <a:gd name="T31" fmla="*/ 1619 h 1722"/>
                <a:gd name="T32" fmla="*/ 1543 w 2022"/>
                <a:gd name="T33" fmla="*/ 1702 h 1722"/>
                <a:gd name="T34" fmla="*/ 1738 w 2022"/>
                <a:gd name="T35" fmla="*/ 1511 h 1722"/>
                <a:gd name="T36" fmla="*/ 1700 w 2022"/>
                <a:gd name="T37" fmla="*/ 1337 h 1722"/>
                <a:gd name="T38" fmla="*/ 1614 w 2022"/>
                <a:gd name="T39" fmla="*/ 1298 h 1722"/>
                <a:gd name="T40" fmla="*/ 1836 w 2022"/>
                <a:gd name="T41" fmla="*/ 935 h 1722"/>
                <a:gd name="T42" fmla="*/ 1827 w 2022"/>
                <a:gd name="T43" fmla="*/ 737 h 1722"/>
                <a:gd name="T44" fmla="*/ 385 w 2022"/>
                <a:gd name="T45" fmla="*/ 419 h 1722"/>
                <a:gd name="T46" fmla="*/ 297 w 2022"/>
                <a:gd name="T47" fmla="*/ 453 h 1722"/>
                <a:gd name="T48" fmla="*/ 39 w 2022"/>
                <a:gd name="T49" fmla="*/ 879 h 1722"/>
                <a:gd name="T50" fmla="*/ 12 w 2022"/>
                <a:gd name="T51" fmla="*/ 849 h 1722"/>
                <a:gd name="T52" fmla="*/ 497 w 2022"/>
                <a:gd name="T53" fmla="*/ 441 h 1722"/>
                <a:gd name="T54" fmla="*/ 2022 w 2022"/>
                <a:gd name="T55" fmla="*/ 704 h 1722"/>
                <a:gd name="T56" fmla="*/ 457 w 2022"/>
                <a:gd name="T57" fmla="*/ 558 h 1722"/>
                <a:gd name="T58" fmla="*/ 481 w 2022"/>
                <a:gd name="T59" fmla="*/ 605 h 1722"/>
                <a:gd name="T60" fmla="*/ 356 w 2022"/>
                <a:gd name="T61" fmla="*/ 195 h 1722"/>
                <a:gd name="T62" fmla="*/ 290 w 2022"/>
                <a:gd name="T63" fmla="*/ 95 h 1722"/>
                <a:gd name="T64" fmla="*/ 331 w 2022"/>
                <a:gd name="T65" fmla="*/ 23 h 1722"/>
                <a:gd name="T66" fmla="*/ 337 w 2022"/>
                <a:gd name="T67" fmla="*/ 1 h 1722"/>
                <a:gd name="T68" fmla="*/ 237 w 2022"/>
                <a:gd name="T69" fmla="*/ 217 h 1722"/>
                <a:gd name="T70" fmla="*/ 246 w 2022"/>
                <a:gd name="T71" fmla="*/ 328 h 1722"/>
                <a:gd name="T72" fmla="*/ 249 w 2022"/>
                <a:gd name="T73" fmla="*/ 252 h 1722"/>
                <a:gd name="T74" fmla="*/ 279 w 2022"/>
                <a:gd name="T75" fmla="*/ 186 h 1722"/>
                <a:gd name="T76" fmla="*/ 380 w 2022"/>
                <a:gd name="T77" fmla="*/ 598 h 1722"/>
                <a:gd name="T78" fmla="*/ 401 w 2022"/>
                <a:gd name="T79" fmla="*/ 484 h 1722"/>
                <a:gd name="T80" fmla="*/ 401 w 2022"/>
                <a:gd name="T81" fmla="*/ 484 h 1722"/>
                <a:gd name="T82" fmla="*/ 492 w 2022"/>
                <a:gd name="T83" fmla="*/ 998 h 1722"/>
                <a:gd name="T84" fmla="*/ 541 w 2022"/>
                <a:gd name="T85" fmla="*/ 527 h 1722"/>
                <a:gd name="T86" fmla="*/ 342 w 2022"/>
                <a:gd name="T87" fmla="*/ 494 h 1722"/>
                <a:gd name="T88" fmla="*/ 357 w 2022"/>
                <a:gd name="T89" fmla="*/ 641 h 1722"/>
                <a:gd name="T90" fmla="*/ 302 w 2022"/>
                <a:gd name="T91" fmla="*/ 363 h 1722"/>
                <a:gd name="T92" fmla="*/ 351 w 2022"/>
                <a:gd name="T93" fmla="*/ 555 h 1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22" h="1722">
                  <a:moveTo>
                    <a:pt x="1827" y="737"/>
                  </a:moveTo>
                  <a:cubicBezTo>
                    <a:pt x="1828" y="737"/>
                    <a:pt x="1787" y="704"/>
                    <a:pt x="1730" y="756"/>
                  </a:cubicBezTo>
                  <a:cubicBezTo>
                    <a:pt x="1663" y="816"/>
                    <a:pt x="1654" y="765"/>
                    <a:pt x="1601" y="732"/>
                  </a:cubicBezTo>
                  <a:cubicBezTo>
                    <a:pt x="1559" y="705"/>
                    <a:pt x="1500" y="681"/>
                    <a:pt x="1452" y="666"/>
                  </a:cubicBezTo>
                  <a:cubicBezTo>
                    <a:pt x="1362" y="638"/>
                    <a:pt x="1383" y="760"/>
                    <a:pt x="1332" y="767"/>
                  </a:cubicBezTo>
                  <a:cubicBezTo>
                    <a:pt x="1327" y="768"/>
                    <a:pt x="1356" y="644"/>
                    <a:pt x="1355" y="643"/>
                  </a:cubicBezTo>
                  <a:cubicBezTo>
                    <a:pt x="1349" y="578"/>
                    <a:pt x="1212" y="644"/>
                    <a:pt x="1169" y="633"/>
                  </a:cubicBezTo>
                  <a:cubicBezTo>
                    <a:pt x="1218" y="643"/>
                    <a:pt x="1309" y="461"/>
                    <a:pt x="1236" y="408"/>
                  </a:cubicBezTo>
                  <a:cubicBezTo>
                    <a:pt x="1280" y="440"/>
                    <a:pt x="1240" y="337"/>
                    <a:pt x="1240" y="344"/>
                  </a:cubicBezTo>
                  <a:cubicBezTo>
                    <a:pt x="1240" y="268"/>
                    <a:pt x="1186" y="329"/>
                    <a:pt x="1171" y="330"/>
                  </a:cubicBezTo>
                  <a:cubicBezTo>
                    <a:pt x="1119" y="335"/>
                    <a:pt x="1038" y="234"/>
                    <a:pt x="1010" y="220"/>
                  </a:cubicBezTo>
                  <a:cubicBezTo>
                    <a:pt x="1002" y="216"/>
                    <a:pt x="933" y="270"/>
                    <a:pt x="921" y="270"/>
                  </a:cubicBezTo>
                  <a:cubicBezTo>
                    <a:pt x="905" y="200"/>
                    <a:pt x="893" y="252"/>
                    <a:pt x="859" y="268"/>
                  </a:cubicBezTo>
                  <a:cubicBezTo>
                    <a:pt x="797" y="300"/>
                    <a:pt x="819" y="217"/>
                    <a:pt x="785" y="211"/>
                  </a:cubicBezTo>
                  <a:cubicBezTo>
                    <a:pt x="683" y="193"/>
                    <a:pt x="623" y="163"/>
                    <a:pt x="525" y="172"/>
                  </a:cubicBezTo>
                  <a:cubicBezTo>
                    <a:pt x="481" y="175"/>
                    <a:pt x="470" y="128"/>
                    <a:pt x="445" y="195"/>
                  </a:cubicBezTo>
                  <a:cubicBezTo>
                    <a:pt x="431" y="231"/>
                    <a:pt x="505" y="323"/>
                    <a:pt x="492" y="336"/>
                  </a:cubicBezTo>
                  <a:cubicBezTo>
                    <a:pt x="498" y="330"/>
                    <a:pt x="550" y="480"/>
                    <a:pt x="553" y="484"/>
                  </a:cubicBezTo>
                  <a:cubicBezTo>
                    <a:pt x="557" y="489"/>
                    <a:pt x="648" y="515"/>
                    <a:pt x="629" y="553"/>
                  </a:cubicBezTo>
                  <a:cubicBezTo>
                    <a:pt x="617" y="577"/>
                    <a:pt x="540" y="542"/>
                    <a:pt x="546" y="603"/>
                  </a:cubicBezTo>
                  <a:cubicBezTo>
                    <a:pt x="553" y="667"/>
                    <a:pt x="629" y="591"/>
                    <a:pt x="644" y="578"/>
                  </a:cubicBezTo>
                  <a:cubicBezTo>
                    <a:pt x="642" y="580"/>
                    <a:pt x="627" y="655"/>
                    <a:pt x="587" y="675"/>
                  </a:cubicBezTo>
                  <a:cubicBezTo>
                    <a:pt x="587" y="675"/>
                    <a:pt x="410" y="663"/>
                    <a:pt x="438" y="700"/>
                  </a:cubicBezTo>
                  <a:cubicBezTo>
                    <a:pt x="454" y="701"/>
                    <a:pt x="461" y="708"/>
                    <a:pt x="459" y="720"/>
                  </a:cubicBezTo>
                  <a:cubicBezTo>
                    <a:pt x="269" y="801"/>
                    <a:pt x="615" y="838"/>
                    <a:pt x="625" y="775"/>
                  </a:cubicBezTo>
                  <a:cubicBezTo>
                    <a:pt x="614" y="849"/>
                    <a:pt x="503" y="828"/>
                    <a:pt x="548" y="933"/>
                  </a:cubicBezTo>
                  <a:cubicBezTo>
                    <a:pt x="555" y="948"/>
                    <a:pt x="599" y="964"/>
                    <a:pt x="618" y="990"/>
                  </a:cubicBezTo>
                  <a:cubicBezTo>
                    <a:pt x="674" y="1067"/>
                    <a:pt x="582" y="1016"/>
                    <a:pt x="553" y="1054"/>
                  </a:cubicBezTo>
                  <a:cubicBezTo>
                    <a:pt x="543" y="1068"/>
                    <a:pt x="579" y="1102"/>
                    <a:pt x="583" y="1120"/>
                  </a:cubicBezTo>
                  <a:cubicBezTo>
                    <a:pt x="608" y="1242"/>
                    <a:pt x="699" y="1166"/>
                    <a:pt x="779" y="1184"/>
                  </a:cubicBezTo>
                  <a:cubicBezTo>
                    <a:pt x="853" y="1201"/>
                    <a:pt x="879" y="1253"/>
                    <a:pt x="904" y="1318"/>
                  </a:cubicBezTo>
                  <a:cubicBezTo>
                    <a:pt x="919" y="1357"/>
                    <a:pt x="962" y="1435"/>
                    <a:pt x="1015" y="1487"/>
                  </a:cubicBezTo>
                  <a:cubicBezTo>
                    <a:pt x="1106" y="1451"/>
                    <a:pt x="1106" y="1451"/>
                    <a:pt x="1106" y="1451"/>
                  </a:cubicBezTo>
                  <a:cubicBezTo>
                    <a:pt x="1177" y="1466"/>
                    <a:pt x="1177" y="1466"/>
                    <a:pt x="1177" y="1466"/>
                  </a:cubicBezTo>
                  <a:cubicBezTo>
                    <a:pt x="1201" y="1431"/>
                    <a:pt x="1201" y="1431"/>
                    <a:pt x="1201" y="1431"/>
                  </a:cubicBezTo>
                  <a:cubicBezTo>
                    <a:pt x="1258" y="1431"/>
                    <a:pt x="1258" y="1431"/>
                    <a:pt x="1258" y="1431"/>
                  </a:cubicBezTo>
                  <a:cubicBezTo>
                    <a:pt x="1254" y="1396"/>
                    <a:pt x="1254" y="1396"/>
                    <a:pt x="1254" y="1396"/>
                  </a:cubicBezTo>
                  <a:cubicBezTo>
                    <a:pt x="1293" y="1398"/>
                    <a:pt x="1293" y="1398"/>
                    <a:pt x="1293" y="1398"/>
                  </a:cubicBezTo>
                  <a:cubicBezTo>
                    <a:pt x="1356" y="1347"/>
                    <a:pt x="1356" y="1347"/>
                    <a:pt x="1356" y="1347"/>
                  </a:cubicBezTo>
                  <a:cubicBezTo>
                    <a:pt x="1386" y="1359"/>
                    <a:pt x="1386" y="1359"/>
                    <a:pt x="1386" y="1359"/>
                  </a:cubicBezTo>
                  <a:cubicBezTo>
                    <a:pt x="1356" y="1428"/>
                    <a:pt x="1356" y="1428"/>
                    <a:pt x="1356" y="1428"/>
                  </a:cubicBezTo>
                  <a:cubicBezTo>
                    <a:pt x="1379" y="1450"/>
                    <a:pt x="1379" y="1450"/>
                    <a:pt x="1379" y="1450"/>
                  </a:cubicBezTo>
                  <a:cubicBezTo>
                    <a:pt x="1381" y="1494"/>
                    <a:pt x="1381" y="1494"/>
                    <a:pt x="1381" y="1494"/>
                  </a:cubicBezTo>
                  <a:cubicBezTo>
                    <a:pt x="1326" y="1523"/>
                    <a:pt x="1326" y="1523"/>
                    <a:pt x="1326" y="1523"/>
                  </a:cubicBezTo>
                  <a:cubicBezTo>
                    <a:pt x="1332" y="1556"/>
                    <a:pt x="1332" y="1556"/>
                    <a:pt x="1332" y="1556"/>
                  </a:cubicBezTo>
                  <a:cubicBezTo>
                    <a:pt x="1395" y="1568"/>
                    <a:pt x="1395" y="1568"/>
                    <a:pt x="1395" y="1568"/>
                  </a:cubicBezTo>
                  <a:cubicBezTo>
                    <a:pt x="1416" y="1618"/>
                    <a:pt x="1416" y="1618"/>
                    <a:pt x="1416" y="1618"/>
                  </a:cubicBezTo>
                  <a:cubicBezTo>
                    <a:pt x="1460" y="1619"/>
                    <a:pt x="1460" y="1619"/>
                    <a:pt x="1460" y="1619"/>
                  </a:cubicBezTo>
                  <a:cubicBezTo>
                    <a:pt x="1459" y="1636"/>
                    <a:pt x="1459" y="1636"/>
                    <a:pt x="1459" y="1636"/>
                  </a:cubicBezTo>
                  <a:cubicBezTo>
                    <a:pt x="1489" y="1642"/>
                    <a:pt x="1489" y="1642"/>
                    <a:pt x="1489" y="1642"/>
                  </a:cubicBezTo>
                  <a:cubicBezTo>
                    <a:pt x="1489" y="1642"/>
                    <a:pt x="1509" y="1682"/>
                    <a:pt x="1543" y="1702"/>
                  </a:cubicBezTo>
                  <a:cubicBezTo>
                    <a:pt x="1578" y="1722"/>
                    <a:pt x="1611" y="1721"/>
                    <a:pt x="1635" y="1716"/>
                  </a:cubicBezTo>
                  <a:cubicBezTo>
                    <a:pt x="1578" y="1657"/>
                    <a:pt x="1727" y="1582"/>
                    <a:pt x="1727" y="1582"/>
                  </a:cubicBezTo>
                  <a:cubicBezTo>
                    <a:pt x="1738" y="1511"/>
                    <a:pt x="1738" y="1511"/>
                    <a:pt x="1738" y="1511"/>
                  </a:cubicBezTo>
                  <a:cubicBezTo>
                    <a:pt x="1802" y="1501"/>
                    <a:pt x="1802" y="1501"/>
                    <a:pt x="1802" y="1501"/>
                  </a:cubicBezTo>
                  <a:cubicBezTo>
                    <a:pt x="1802" y="1501"/>
                    <a:pt x="1840" y="1447"/>
                    <a:pt x="1815" y="1407"/>
                  </a:cubicBezTo>
                  <a:cubicBezTo>
                    <a:pt x="1790" y="1368"/>
                    <a:pt x="1700" y="1337"/>
                    <a:pt x="1700" y="1337"/>
                  </a:cubicBezTo>
                  <a:cubicBezTo>
                    <a:pt x="1705" y="1257"/>
                    <a:pt x="1705" y="1257"/>
                    <a:pt x="1705" y="1257"/>
                  </a:cubicBezTo>
                  <a:cubicBezTo>
                    <a:pt x="1692" y="1243"/>
                    <a:pt x="1692" y="1243"/>
                    <a:pt x="1692" y="1243"/>
                  </a:cubicBezTo>
                  <a:cubicBezTo>
                    <a:pt x="1661" y="1271"/>
                    <a:pt x="1633" y="1299"/>
                    <a:pt x="1614" y="1298"/>
                  </a:cubicBezTo>
                  <a:cubicBezTo>
                    <a:pt x="1572" y="1296"/>
                    <a:pt x="1735" y="1167"/>
                    <a:pt x="1734" y="1175"/>
                  </a:cubicBezTo>
                  <a:cubicBezTo>
                    <a:pt x="1741" y="1104"/>
                    <a:pt x="1718" y="1113"/>
                    <a:pt x="1680" y="1061"/>
                  </a:cubicBezTo>
                  <a:cubicBezTo>
                    <a:pt x="1677" y="1058"/>
                    <a:pt x="1818" y="942"/>
                    <a:pt x="1836" y="935"/>
                  </a:cubicBezTo>
                  <a:cubicBezTo>
                    <a:pt x="1906" y="909"/>
                    <a:pt x="1873" y="881"/>
                    <a:pt x="1873" y="827"/>
                  </a:cubicBezTo>
                  <a:cubicBezTo>
                    <a:pt x="1873" y="715"/>
                    <a:pt x="1893" y="788"/>
                    <a:pt x="1907" y="719"/>
                  </a:cubicBezTo>
                  <a:cubicBezTo>
                    <a:pt x="1915" y="679"/>
                    <a:pt x="1832" y="736"/>
                    <a:pt x="1827" y="737"/>
                  </a:cubicBezTo>
                  <a:close/>
                  <a:moveTo>
                    <a:pt x="385" y="419"/>
                  </a:moveTo>
                  <a:cubicBezTo>
                    <a:pt x="422" y="456"/>
                    <a:pt x="429" y="426"/>
                    <a:pt x="441" y="403"/>
                  </a:cubicBezTo>
                  <a:cubicBezTo>
                    <a:pt x="426" y="417"/>
                    <a:pt x="408" y="422"/>
                    <a:pt x="385" y="419"/>
                  </a:cubicBezTo>
                  <a:close/>
                  <a:moveTo>
                    <a:pt x="284" y="340"/>
                  </a:moveTo>
                  <a:cubicBezTo>
                    <a:pt x="264" y="337"/>
                    <a:pt x="242" y="387"/>
                    <a:pt x="235" y="399"/>
                  </a:cubicBezTo>
                  <a:cubicBezTo>
                    <a:pt x="235" y="405"/>
                    <a:pt x="285" y="487"/>
                    <a:pt x="297" y="453"/>
                  </a:cubicBezTo>
                  <a:cubicBezTo>
                    <a:pt x="301" y="440"/>
                    <a:pt x="261" y="336"/>
                    <a:pt x="284" y="340"/>
                  </a:cubicBezTo>
                  <a:close/>
                  <a:moveTo>
                    <a:pt x="39" y="865"/>
                  </a:moveTo>
                  <a:cubicBezTo>
                    <a:pt x="39" y="865"/>
                    <a:pt x="26" y="879"/>
                    <a:pt x="39" y="879"/>
                  </a:cubicBezTo>
                  <a:cubicBezTo>
                    <a:pt x="52" y="879"/>
                    <a:pt x="56" y="865"/>
                    <a:pt x="39" y="865"/>
                  </a:cubicBezTo>
                  <a:close/>
                  <a:moveTo>
                    <a:pt x="13" y="889"/>
                  </a:moveTo>
                  <a:cubicBezTo>
                    <a:pt x="26" y="889"/>
                    <a:pt x="12" y="849"/>
                    <a:pt x="12" y="849"/>
                  </a:cubicBezTo>
                  <a:cubicBezTo>
                    <a:pt x="0" y="862"/>
                    <a:pt x="1" y="876"/>
                    <a:pt x="13" y="889"/>
                  </a:cubicBezTo>
                  <a:close/>
                  <a:moveTo>
                    <a:pt x="489" y="421"/>
                  </a:moveTo>
                  <a:cubicBezTo>
                    <a:pt x="456" y="453"/>
                    <a:pt x="494" y="431"/>
                    <a:pt x="497" y="441"/>
                  </a:cubicBezTo>
                  <a:cubicBezTo>
                    <a:pt x="495" y="447"/>
                    <a:pt x="518" y="392"/>
                    <a:pt x="489" y="421"/>
                  </a:cubicBezTo>
                  <a:close/>
                  <a:moveTo>
                    <a:pt x="1890" y="655"/>
                  </a:moveTo>
                  <a:cubicBezTo>
                    <a:pt x="1927" y="687"/>
                    <a:pt x="1963" y="704"/>
                    <a:pt x="2022" y="704"/>
                  </a:cubicBezTo>
                  <a:cubicBezTo>
                    <a:pt x="2018" y="602"/>
                    <a:pt x="1824" y="510"/>
                    <a:pt x="1843" y="657"/>
                  </a:cubicBezTo>
                  <a:cubicBezTo>
                    <a:pt x="1859" y="662"/>
                    <a:pt x="1874" y="661"/>
                    <a:pt x="1890" y="655"/>
                  </a:cubicBezTo>
                  <a:close/>
                  <a:moveTo>
                    <a:pt x="457" y="558"/>
                  </a:moveTo>
                  <a:cubicBezTo>
                    <a:pt x="480" y="544"/>
                    <a:pt x="484" y="528"/>
                    <a:pt x="468" y="511"/>
                  </a:cubicBezTo>
                  <a:cubicBezTo>
                    <a:pt x="438" y="494"/>
                    <a:pt x="357" y="596"/>
                    <a:pt x="457" y="558"/>
                  </a:cubicBezTo>
                  <a:close/>
                  <a:moveTo>
                    <a:pt x="481" y="605"/>
                  </a:moveTo>
                  <a:cubicBezTo>
                    <a:pt x="497" y="605"/>
                    <a:pt x="484" y="588"/>
                    <a:pt x="484" y="588"/>
                  </a:cubicBezTo>
                  <a:cubicBezTo>
                    <a:pt x="471" y="590"/>
                    <a:pt x="466" y="605"/>
                    <a:pt x="481" y="605"/>
                  </a:cubicBezTo>
                  <a:close/>
                  <a:moveTo>
                    <a:pt x="356" y="195"/>
                  </a:moveTo>
                  <a:cubicBezTo>
                    <a:pt x="362" y="186"/>
                    <a:pt x="321" y="179"/>
                    <a:pt x="304" y="167"/>
                  </a:cubicBezTo>
                  <a:cubicBezTo>
                    <a:pt x="288" y="155"/>
                    <a:pt x="290" y="127"/>
                    <a:pt x="291" y="123"/>
                  </a:cubicBezTo>
                  <a:cubicBezTo>
                    <a:pt x="293" y="118"/>
                    <a:pt x="290" y="95"/>
                    <a:pt x="290" y="95"/>
                  </a:cubicBezTo>
                  <a:cubicBezTo>
                    <a:pt x="290" y="95"/>
                    <a:pt x="303" y="76"/>
                    <a:pt x="307" y="70"/>
                  </a:cubicBezTo>
                  <a:cubicBezTo>
                    <a:pt x="312" y="64"/>
                    <a:pt x="335" y="55"/>
                    <a:pt x="340" y="45"/>
                  </a:cubicBezTo>
                  <a:cubicBezTo>
                    <a:pt x="344" y="35"/>
                    <a:pt x="331" y="23"/>
                    <a:pt x="331" y="23"/>
                  </a:cubicBezTo>
                  <a:cubicBezTo>
                    <a:pt x="331" y="23"/>
                    <a:pt x="326" y="14"/>
                    <a:pt x="332" y="14"/>
                  </a:cubicBezTo>
                  <a:cubicBezTo>
                    <a:pt x="338" y="14"/>
                    <a:pt x="351" y="20"/>
                    <a:pt x="356" y="16"/>
                  </a:cubicBezTo>
                  <a:cubicBezTo>
                    <a:pt x="360" y="11"/>
                    <a:pt x="354" y="2"/>
                    <a:pt x="337" y="1"/>
                  </a:cubicBezTo>
                  <a:cubicBezTo>
                    <a:pt x="319" y="0"/>
                    <a:pt x="313" y="10"/>
                    <a:pt x="307" y="22"/>
                  </a:cubicBezTo>
                  <a:cubicBezTo>
                    <a:pt x="301" y="33"/>
                    <a:pt x="275" y="86"/>
                    <a:pt x="259" y="120"/>
                  </a:cubicBezTo>
                  <a:cubicBezTo>
                    <a:pt x="243" y="154"/>
                    <a:pt x="238" y="206"/>
                    <a:pt x="237" y="217"/>
                  </a:cubicBezTo>
                  <a:cubicBezTo>
                    <a:pt x="235" y="227"/>
                    <a:pt x="238" y="246"/>
                    <a:pt x="234" y="258"/>
                  </a:cubicBezTo>
                  <a:cubicBezTo>
                    <a:pt x="230" y="270"/>
                    <a:pt x="227" y="299"/>
                    <a:pt x="231" y="312"/>
                  </a:cubicBezTo>
                  <a:cubicBezTo>
                    <a:pt x="235" y="325"/>
                    <a:pt x="240" y="331"/>
                    <a:pt x="246" y="328"/>
                  </a:cubicBezTo>
                  <a:cubicBezTo>
                    <a:pt x="252" y="325"/>
                    <a:pt x="244" y="312"/>
                    <a:pt x="244" y="308"/>
                  </a:cubicBezTo>
                  <a:cubicBezTo>
                    <a:pt x="244" y="303"/>
                    <a:pt x="250" y="299"/>
                    <a:pt x="250" y="294"/>
                  </a:cubicBezTo>
                  <a:cubicBezTo>
                    <a:pt x="250" y="290"/>
                    <a:pt x="247" y="267"/>
                    <a:pt x="249" y="252"/>
                  </a:cubicBezTo>
                  <a:cubicBezTo>
                    <a:pt x="250" y="237"/>
                    <a:pt x="250" y="206"/>
                    <a:pt x="256" y="205"/>
                  </a:cubicBezTo>
                  <a:cubicBezTo>
                    <a:pt x="262" y="204"/>
                    <a:pt x="269" y="206"/>
                    <a:pt x="271" y="202"/>
                  </a:cubicBezTo>
                  <a:cubicBezTo>
                    <a:pt x="272" y="198"/>
                    <a:pt x="279" y="186"/>
                    <a:pt x="279" y="186"/>
                  </a:cubicBezTo>
                  <a:cubicBezTo>
                    <a:pt x="284" y="189"/>
                    <a:pt x="281" y="206"/>
                    <a:pt x="299" y="208"/>
                  </a:cubicBezTo>
                  <a:cubicBezTo>
                    <a:pt x="316" y="209"/>
                    <a:pt x="350" y="204"/>
                    <a:pt x="356" y="195"/>
                  </a:cubicBezTo>
                  <a:close/>
                  <a:moveTo>
                    <a:pt x="380" y="598"/>
                  </a:moveTo>
                  <a:cubicBezTo>
                    <a:pt x="378" y="612"/>
                    <a:pt x="397" y="597"/>
                    <a:pt x="397" y="597"/>
                  </a:cubicBezTo>
                  <a:cubicBezTo>
                    <a:pt x="399" y="577"/>
                    <a:pt x="382" y="585"/>
                    <a:pt x="380" y="598"/>
                  </a:cubicBezTo>
                  <a:close/>
                  <a:moveTo>
                    <a:pt x="401" y="484"/>
                  </a:moveTo>
                  <a:cubicBezTo>
                    <a:pt x="389" y="490"/>
                    <a:pt x="379" y="488"/>
                    <a:pt x="369" y="479"/>
                  </a:cubicBezTo>
                  <a:cubicBezTo>
                    <a:pt x="352" y="489"/>
                    <a:pt x="354" y="497"/>
                    <a:pt x="376" y="501"/>
                  </a:cubicBezTo>
                  <a:cubicBezTo>
                    <a:pt x="379" y="498"/>
                    <a:pt x="422" y="521"/>
                    <a:pt x="401" y="484"/>
                  </a:cubicBezTo>
                  <a:close/>
                  <a:moveTo>
                    <a:pt x="469" y="1007"/>
                  </a:moveTo>
                  <a:cubicBezTo>
                    <a:pt x="469" y="1043"/>
                    <a:pt x="490" y="1030"/>
                    <a:pt x="490" y="1030"/>
                  </a:cubicBezTo>
                  <a:cubicBezTo>
                    <a:pt x="492" y="998"/>
                    <a:pt x="492" y="998"/>
                    <a:pt x="492" y="998"/>
                  </a:cubicBezTo>
                  <a:cubicBezTo>
                    <a:pt x="492" y="998"/>
                    <a:pt x="469" y="971"/>
                    <a:pt x="469" y="1007"/>
                  </a:cubicBezTo>
                  <a:close/>
                  <a:moveTo>
                    <a:pt x="541" y="504"/>
                  </a:moveTo>
                  <a:cubicBezTo>
                    <a:pt x="540" y="516"/>
                    <a:pt x="514" y="503"/>
                    <a:pt x="541" y="527"/>
                  </a:cubicBezTo>
                  <a:cubicBezTo>
                    <a:pt x="565" y="521"/>
                    <a:pt x="565" y="514"/>
                    <a:pt x="541" y="504"/>
                  </a:cubicBezTo>
                  <a:close/>
                  <a:moveTo>
                    <a:pt x="324" y="495"/>
                  </a:moveTo>
                  <a:cubicBezTo>
                    <a:pt x="325" y="514"/>
                    <a:pt x="342" y="494"/>
                    <a:pt x="342" y="494"/>
                  </a:cubicBezTo>
                  <a:cubicBezTo>
                    <a:pt x="340" y="477"/>
                    <a:pt x="323" y="477"/>
                    <a:pt x="324" y="495"/>
                  </a:cubicBezTo>
                  <a:close/>
                  <a:moveTo>
                    <a:pt x="348" y="608"/>
                  </a:moveTo>
                  <a:cubicBezTo>
                    <a:pt x="316" y="563"/>
                    <a:pt x="321" y="652"/>
                    <a:pt x="357" y="641"/>
                  </a:cubicBezTo>
                  <a:cubicBezTo>
                    <a:pt x="367" y="629"/>
                    <a:pt x="364" y="618"/>
                    <a:pt x="348" y="608"/>
                  </a:cubicBezTo>
                  <a:close/>
                  <a:moveTo>
                    <a:pt x="302" y="363"/>
                  </a:moveTo>
                  <a:cubicBezTo>
                    <a:pt x="499" y="496"/>
                    <a:pt x="354" y="162"/>
                    <a:pt x="302" y="363"/>
                  </a:cubicBezTo>
                  <a:close/>
                  <a:moveTo>
                    <a:pt x="351" y="555"/>
                  </a:moveTo>
                  <a:cubicBezTo>
                    <a:pt x="359" y="536"/>
                    <a:pt x="354" y="524"/>
                    <a:pt x="338" y="517"/>
                  </a:cubicBezTo>
                  <a:cubicBezTo>
                    <a:pt x="264" y="541"/>
                    <a:pt x="382" y="576"/>
                    <a:pt x="351" y="555"/>
                  </a:cubicBez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195" name="Freeform 11">
              <a:extLst>
                <a:ext uri="{FF2B5EF4-FFF2-40B4-BE49-F238E27FC236}">
                  <a16:creationId xmlns:a16="http://schemas.microsoft.com/office/drawing/2014/main" id="{CDD80F46-0961-3946-A889-9BED798A208D}"/>
                </a:ext>
              </a:extLst>
            </p:cNvPr>
            <p:cNvSpPr>
              <a:spLocks noEditPoints="1"/>
            </p:cNvSpPr>
            <p:nvPr/>
          </p:nvSpPr>
          <p:spPr bwMode="auto">
            <a:xfrm>
              <a:off x="896" y="1052"/>
              <a:ext cx="1171" cy="1006"/>
            </a:xfrm>
            <a:custGeom>
              <a:avLst/>
              <a:gdLst>
                <a:gd name="T0" fmla="*/ 2895 w 3091"/>
                <a:gd name="T1" fmla="*/ 857 h 2655"/>
                <a:gd name="T2" fmla="*/ 2837 w 3091"/>
                <a:gd name="T3" fmla="*/ 790 h 2655"/>
                <a:gd name="T4" fmla="*/ 2685 w 3091"/>
                <a:gd name="T5" fmla="*/ 603 h 2655"/>
                <a:gd name="T6" fmla="*/ 2520 w 3091"/>
                <a:gd name="T7" fmla="*/ 573 h 2655"/>
                <a:gd name="T8" fmla="*/ 2344 w 3091"/>
                <a:gd name="T9" fmla="*/ 493 h 2655"/>
                <a:gd name="T10" fmla="*/ 2183 w 3091"/>
                <a:gd name="T11" fmla="*/ 482 h 2655"/>
                <a:gd name="T12" fmla="*/ 2020 w 3091"/>
                <a:gd name="T13" fmla="*/ 471 h 2655"/>
                <a:gd name="T14" fmla="*/ 1445 w 3091"/>
                <a:gd name="T15" fmla="*/ 112 h 2655"/>
                <a:gd name="T16" fmla="*/ 1226 w 3091"/>
                <a:gd name="T17" fmla="*/ 523 h 2655"/>
                <a:gd name="T18" fmla="*/ 1079 w 3091"/>
                <a:gd name="T19" fmla="*/ 346 h 2655"/>
                <a:gd name="T20" fmla="*/ 1010 w 3091"/>
                <a:gd name="T21" fmla="*/ 472 h 2655"/>
                <a:gd name="T22" fmla="*/ 647 w 3091"/>
                <a:gd name="T23" fmla="*/ 240 h 2655"/>
                <a:gd name="T24" fmla="*/ 387 w 3091"/>
                <a:gd name="T25" fmla="*/ 394 h 2655"/>
                <a:gd name="T26" fmla="*/ 445 w 3091"/>
                <a:gd name="T27" fmla="*/ 700 h 2655"/>
                <a:gd name="T28" fmla="*/ 277 w 3091"/>
                <a:gd name="T29" fmla="*/ 1261 h 2655"/>
                <a:gd name="T30" fmla="*/ 288 w 3091"/>
                <a:gd name="T31" fmla="*/ 1632 h 2655"/>
                <a:gd name="T32" fmla="*/ 641 w 3091"/>
                <a:gd name="T33" fmla="*/ 1525 h 2655"/>
                <a:gd name="T34" fmla="*/ 673 w 3091"/>
                <a:gd name="T35" fmla="*/ 1421 h 2655"/>
                <a:gd name="T36" fmla="*/ 860 w 3091"/>
                <a:gd name="T37" fmla="*/ 1525 h 2655"/>
                <a:gd name="T38" fmla="*/ 916 w 3091"/>
                <a:gd name="T39" fmla="*/ 1741 h 2655"/>
                <a:gd name="T40" fmla="*/ 865 w 3091"/>
                <a:gd name="T41" fmla="*/ 1880 h 2655"/>
                <a:gd name="T42" fmla="*/ 1188 w 3091"/>
                <a:gd name="T43" fmla="*/ 1696 h 2655"/>
                <a:gd name="T44" fmla="*/ 1098 w 3091"/>
                <a:gd name="T45" fmla="*/ 1455 h 2655"/>
                <a:gd name="T46" fmla="*/ 1330 w 3091"/>
                <a:gd name="T47" fmla="*/ 1391 h 2655"/>
                <a:gd name="T48" fmla="*/ 1546 w 3091"/>
                <a:gd name="T49" fmla="*/ 1437 h 2655"/>
                <a:gd name="T50" fmla="*/ 1511 w 3091"/>
                <a:gd name="T51" fmla="*/ 1602 h 2655"/>
                <a:gd name="T52" fmla="*/ 1514 w 3091"/>
                <a:gd name="T53" fmla="*/ 1784 h 2655"/>
                <a:gd name="T54" fmla="*/ 1677 w 3091"/>
                <a:gd name="T55" fmla="*/ 1947 h 2655"/>
                <a:gd name="T56" fmla="*/ 1760 w 3091"/>
                <a:gd name="T57" fmla="*/ 2163 h 2655"/>
                <a:gd name="T58" fmla="*/ 1803 w 3091"/>
                <a:gd name="T59" fmla="*/ 2280 h 2655"/>
                <a:gd name="T60" fmla="*/ 1869 w 3091"/>
                <a:gd name="T61" fmla="*/ 2392 h 2655"/>
                <a:gd name="T62" fmla="*/ 1841 w 3091"/>
                <a:gd name="T63" fmla="*/ 2592 h 2655"/>
                <a:gd name="T64" fmla="*/ 2003 w 3091"/>
                <a:gd name="T65" fmla="*/ 2527 h 2655"/>
                <a:gd name="T66" fmla="*/ 2283 w 3091"/>
                <a:gd name="T67" fmla="*/ 2471 h 2655"/>
                <a:gd name="T68" fmla="*/ 2531 w 3091"/>
                <a:gd name="T69" fmla="*/ 2324 h 2655"/>
                <a:gd name="T70" fmla="*/ 2490 w 3091"/>
                <a:gd name="T71" fmla="*/ 2102 h 2655"/>
                <a:gd name="T72" fmla="*/ 2562 w 3091"/>
                <a:gd name="T73" fmla="*/ 1886 h 2655"/>
                <a:gd name="T74" fmla="*/ 2794 w 3091"/>
                <a:gd name="T75" fmla="*/ 1701 h 2655"/>
                <a:gd name="T76" fmla="*/ 2747 w 3091"/>
                <a:gd name="T77" fmla="*/ 1443 h 2655"/>
                <a:gd name="T78" fmla="*/ 2590 w 3091"/>
                <a:gd name="T79" fmla="*/ 1092 h 2655"/>
                <a:gd name="T80" fmla="*/ 2813 w 3091"/>
                <a:gd name="T81" fmla="*/ 1026 h 2655"/>
                <a:gd name="T82" fmla="*/ 3045 w 3091"/>
                <a:gd name="T83" fmla="*/ 944 h 2655"/>
                <a:gd name="T84" fmla="*/ 1521 w 3091"/>
                <a:gd name="T85" fmla="*/ 877 h 2655"/>
                <a:gd name="T86" fmla="*/ 1353 w 3091"/>
                <a:gd name="T87" fmla="*/ 877 h 2655"/>
                <a:gd name="T88" fmla="*/ 1251 w 3091"/>
                <a:gd name="T89" fmla="*/ 734 h 2655"/>
                <a:gd name="T90" fmla="*/ 1312 w 3091"/>
                <a:gd name="T91" fmla="*/ 724 h 2655"/>
                <a:gd name="T92" fmla="*/ 1425 w 3091"/>
                <a:gd name="T93" fmla="*/ 761 h 2655"/>
                <a:gd name="T94" fmla="*/ 1509 w 3091"/>
                <a:gd name="T95" fmla="*/ 824 h 2655"/>
                <a:gd name="T96" fmla="*/ 944 w 3091"/>
                <a:gd name="T97" fmla="*/ 133 h 2655"/>
                <a:gd name="T98" fmla="*/ 793 w 3091"/>
                <a:gd name="T99" fmla="*/ 120 h 2655"/>
                <a:gd name="T100" fmla="*/ 1176 w 3091"/>
                <a:gd name="T101" fmla="*/ 105 h 2655"/>
                <a:gd name="T102" fmla="*/ 1028 w 3091"/>
                <a:gd name="T103" fmla="*/ 200 h 2655"/>
                <a:gd name="T104" fmla="*/ 972 w 3091"/>
                <a:gd name="T105" fmla="*/ 169 h 2655"/>
                <a:gd name="T106" fmla="*/ 968 w 3091"/>
                <a:gd name="T107" fmla="*/ 147 h 2655"/>
                <a:gd name="T108" fmla="*/ 644 w 3091"/>
                <a:gd name="T109" fmla="*/ 183 h 2655"/>
                <a:gd name="T110" fmla="*/ 644 w 3091"/>
                <a:gd name="T111" fmla="*/ 183 h 2655"/>
                <a:gd name="T112" fmla="*/ 290 w 3091"/>
                <a:gd name="T113" fmla="*/ 244 h 2655"/>
                <a:gd name="T114" fmla="*/ 291 w 3091"/>
                <a:gd name="T115" fmla="*/ 216 h 2655"/>
                <a:gd name="T116" fmla="*/ 520 w 3091"/>
                <a:gd name="T117" fmla="*/ 191 h 2655"/>
                <a:gd name="T118" fmla="*/ 600 w 3091"/>
                <a:gd name="T119" fmla="*/ 164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91" h="2655">
                  <a:moveTo>
                    <a:pt x="3051" y="873"/>
                  </a:moveTo>
                  <a:cubicBezTo>
                    <a:pt x="2937" y="881"/>
                    <a:pt x="2937" y="881"/>
                    <a:pt x="2937" y="881"/>
                  </a:cubicBezTo>
                  <a:cubicBezTo>
                    <a:pt x="2895" y="857"/>
                    <a:pt x="2895" y="857"/>
                    <a:pt x="2895" y="857"/>
                  </a:cubicBezTo>
                  <a:cubicBezTo>
                    <a:pt x="2903" y="826"/>
                    <a:pt x="2903" y="826"/>
                    <a:pt x="2903" y="826"/>
                  </a:cubicBezTo>
                  <a:cubicBezTo>
                    <a:pt x="2876" y="794"/>
                    <a:pt x="2876" y="794"/>
                    <a:pt x="2876" y="794"/>
                  </a:cubicBezTo>
                  <a:cubicBezTo>
                    <a:pt x="2837" y="790"/>
                    <a:pt x="2837" y="790"/>
                    <a:pt x="2837" y="790"/>
                  </a:cubicBezTo>
                  <a:cubicBezTo>
                    <a:pt x="2735" y="657"/>
                    <a:pt x="2735" y="657"/>
                    <a:pt x="2735" y="657"/>
                  </a:cubicBezTo>
                  <a:cubicBezTo>
                    <a:pt x="2725" y="607"/>
                    <a:pt x="2725" y="607"/>
                    <a:pt x="2725" y="607"/>
                  </a:cubicBezTo>
                  <a:cubicBezTo>
                    <a:pt x="2685" y="603"/>
                    <a:pt x="2685" y="603"/>
                    <a:pt x="2685" y="603"/>
                  </a:cubicBezTo>
                  <a:cubicBezTo>
                    <a:pt x="2685" y="603"/>
                    <a:pt x="2637" y="647"/>
                    <a:pt x="2538" y="587"/>
                  </a:cubicBezTo>
                  <a:cubicBezTo>
                    <a:pt x="2530" y="582"/>
                    <a:pt x="2524" y="577"/>
                    <a:pt x="2520" y="573"/>
                  </a:cubicBezTo>
                  <a:cubicBezTo>
                    <a:pt x="2520" y="573"/>
                    <a:pt x="2520" y="573"/>
                    <a:pt x="2520" y="573"/>
                  </a:cubicBezTo>
                  <a:cubicBezTo>
                    <a:pt x="2496" y="578"/>
                    <a:pt x="2463" y="579"/>
                    <a:pt x="2428" y="559"/>
                  </a:cubicBezTo>
                  <a:cubicBezTo>
                    <a:pt x="2394" y="539"/>
                    <a:pt x="2374" y="499"/>
                    <a:pt x="2374" y="499"/>
                  </a:cubicBezTo>
                  <a:cubicBezTo>
                    <a:pt x="2344" y="493"/>
                    <a:pt x="2344" y="493"/>
                    <a:pt x="2344" y="493"/>
                  </a:cubicBezTo>
                  <a:cubicBezTo>
                    <a:pt x="2343" y="510"/>
                    <a:pt x="2343" y="510"/>
                    <a:pt x="2343" y="510"/>
                  </a:cubicBezTo>
                  <a:cubicBezTo>
                    <a:pt x="2252" y="547"/>
                    <a:pt x="2252" y="547"/>
                    <a:pt x="2252" y="547"/>
                  </a:cubicBezTo>
                  <a:cubicBezTo>
                    <a:pt x="2252" y="547"/>
                    <a:pt x="2218" y="487"/>
                    <a:pt x="2183" y="482"/>
                  </a:cubicBezTo>
                  <a:cubicBezTo>
                    <a:pt x="2148" y="476"/>
                    <a:pt x="2152" y="519"/>
                    <a:pt x="2152" y="519"/>
                  </a:cubicBezTo>
                  <a:cubicBezTo>
                    <a:pt x="2086" y="527"/>
                    <a:pt x="2086" y="527"/>
                    <a:pt x="2086" y="527"/>
                  </a:cubicBezTo>
                  <a:cubicBezTo>
                    <a:pt x="2020" y="471"/>
                    <a:pt x="2020" y="471"/>
                    <a:pt x="2020" y="471"/>
                  </a:cubicBezTo>
                  <a:cubicBezTo>
                    <a:pt x="1927" y="390"/>
                    <a:pt x="1927" y="390"/>
                    <a:pt x="1927" y="390"/>
                  </a:cubicBezTo>
                  <a:cubicBezTo>
                    <a:pt x="1834" y="359"/>
                    <a:pt x="1778" y="247"/>
                    <a:pt x="1748" y="158"/>
                  </a:cubicBezTo>
                  <a:cubicBezTo>
                    <a:pt x="1694" y="0"/>
                    <a:pt x="1536" y="157"/>
                    <a:pt x="1445" y="112"/>
                  </a:cubicBezTo>
                  <a:cubicBezTo>
                    <a:pt x="1295" y="37"/>
                    <a:pt x="1321" y="32"/>
                    <a:pt x="1240" y="183"/>
                  </a:cubicBezTo>
                  <a:cubicBezTo>
                    <a:pt x="1194" y="269"/>
                    <a:pt x="1306" y="348"/>
                    <a:pt x="1275" y="407"/>
                  </a:cubicBezTo>
                  <a:cubicBezTo>
                    <a:pt x="1271" y="415"/>
                    <a:pt x="1217" y="525"/>
                    <a:pt x="1226" y="523"/>
                  </a:cubicBezTo>
                  <a:cubicBezTo>
                    <a:pt x="1196" y="531"/>
                    <a:pt x="1222" y="432"/>
                    <a:pt x="1222" y="433"/>
                  </a:cubicBezTo>
                  <a:cubicBezTo>
                    <a:pt x="1248" y="365"/>
                    <a:pt x="1229" y="380"/>
                    <a:pt x="1171" y="364"/>
                  </a:cubicBezTo>
                  <a:cubicBezTo>
                    <a:pt x="1135" y="355"/>
                    <a:pt x="1119" y="260"/>
                    <a:pt x="1079" y="346"/>
                  </a:cubicBezTo>
                  <a:cubicBezTo>
                    <a:pt x="1046" y="418"/>
                    <a:pt x="1078" y="404"/>
                    <a:pt x="1116" y="404"/>
                  </a:cubicBezTo>
                  <a:cubicBezTo>
                    <a:pt x="1133" y="404"/>
                    <a:pt x="1099" y="499"/>
                    <a:pt x="1097" y="502"/>
                  </a:cubicBezTo>
                  <a:cubicBezTo>
                    <a:pt x="1065" y="566"/>
                    <a:pt x="1035" y="486"/>
                    <a:pt x="1010" y="472"/>
                  </a:cubicBezTo>
                  <a:cubicBezTo>
                    <a:pt x="992" y="462"/>
                    <a:pt x="922" y="449"/>
                    <a:pt x="995" y="412"/>
                  </a:cubicBezTo>
                  <a:cubicBezTo>
                    <a:pt x="1084" y="368"/>
                    <a:pt x="941" y="205"/>
                    <a:pt x="884" y="199"/>
                  </a:cubicBezTo>
                  <a:cubicBezTo>
                    <a:pt x="810" y="192"/>
                    <a:pt x="722" y="240"/>
                    <a:pt x="647" y="240"/>
                  </a:cubicBezTo>
                  <a:cubicBezTo>
                    <a:pt x="607" y="240"/>
                    <a:pt x="565" y="217"/>
                    <a:pt x="523" y="217"/>
                  </a:cubicBezTo>
                  <a:cubicBezTo>
                    <a:pt x="458" y="217"/>
                    <a:pt x="367" y="312"/>
                    <a:pt x="406" y="371"/>
                  </a:cubicBezTo>
                  <a:cubicBezTo>
                    <a:pt x="384" y="374"/>
                    <a:pt x="394" y="377"/>
                    <a:pt x="387" y="394"/>
                  </a:cubicBezTo>
                  <a:cubicBezTo>
                    <a:pt x="359" y="368"/>
                    <a:pt x="366" y="387"/>
                    <a:pt x="337" y="374"/>
                  </a:cubicBezTo>
                  <a:cubicBezTo>
                    <a:pt x="349" y="431"/>
                    <a:pt x="339" y="499"/>
                    <a:pt x="321" y="558"/>
                  </a:cubicBezTo>
                  <a:cubicBezTo>
                    <a:pt x="487" y="572"/>
                    <a:pt x="427" y="593"/>
                    <a:pt x="445" y="700"/>
                  </a:cubicBezTo>
                  <a:cubicBezTo>
                    <a:pt x="451" y="739"/>
                    <a:pt x="421" y="818"/>
                    <a:pt x="426" y="871"/>
                  </a:cubicBezTo>
                  <a:cubicBezTo>
                    <a:pt x="431" y="939"/>
                    <a:pt x="386" y="994"/>
                    <a:pt x="348" y="1047"/>
                  </a:cubicBezTo>
                  <a:cubicBezTo>
                    <a:pt x="297" y="1117"/>
                    <a:pt x="353" y="1225"/>
                    <a:pt x="277" y="1261"/>
                  </a:cubicBezTo>
                  <a:cubicBezTo>
                    <a:pt x="235" y="1280"/>
                    <a:pt x="46" y="1177"/>
                    <a:pt x="130" y="1316"/>
                  </a:cubicBezTo>
                  <a:cubicBezTo>
                    <a:pt x="0" y="1366"/>
                    <a:pt x="202" y="1514"/>
                    <a:pt x="263" y="1427"/>
                  </a:cubicBezTo>
                  <a:cubicBezTo>
                    <a:pt x="323" y="1494"/>
                    <a:pt x="263" y="1576"/>
                    <a:pt x="288" y="1632"/>
                  </a:cubicBezTo>
                  <a:cubicBezTo>
                    <a:pt x="382" y="1613"/>
                    <a:pt x="382" y="1613"/>
                    <a:pt x="382" y="1613"/>
                  </a:cubicBezTo>
                  <a:cubicBezTo>
                    <a:pt x="470" y="1629"/>
                    <a:pt x="470" y="1629"/>
                    <a:pt x="470" y="1629"/>
                  </a:cubicBezTo>
                  <a:cubicBezTo>
                    <a:pt x="641" y="1525"/>
                    <a:pt x="641" y="1525"/>
                    <a:pt x="641" y="1525"/>
                  </a:cubicBezTo>
                  <a:cubicBezTo>
                    <a:pt x="665" y="1469"/>
                    <a:pt x="665" y="1469"/>
                    <a:pt x="665" y="1469"/>
                  </a:cubicBezTo>
                  <a:cubicBezTo>
                    <a:pt x="639" y="1447"/>
                    <a:pt x="639" y="1447"/>
                    <a:pt x="639" y="1447"/>
                  </a:cubicBezTo>
                  <a:cubicBezTo>
                    <a:pt x="673" y="1421"/>
                    <a:pt x="673" y="1421"/>
                    <a:pt x="673" y="1421"/>
                  </a:cubicBezTo>
                  <a:cubicBezTo>
                    <a:pt x="727" y="1450"/>
                    <a:pt x="727" y="1450"/>
                    <a:pt x="727" y="1450"/>
                  </a:cubicBezTo>
                  <a:cubicBezTo>
                    <a:pt x="785" y="1542"/>
                    <a:pt x="785" y="1542"/>
                    <a:pt x="785" y="1542"/>
                  </a:cubicBezTo>
                  <a:cubicBezTo>
                    <a:pt x="860" y="1525"/>
                    <a:pt x="860" y="1525"/>
                    <a:pt x="860" y="1525"/>
                  </a:cubicBezTo>
                  <a:cubicBezTo>
                    <a:pt x="889" y="1581"/>
                    <a:pt x="889" y="1581"/>
                    <a:pt x="889" y="1581"/>
                  </a:cubicBezTo>
                  <a:cubicBezTo>
                    <a:pt x="820" y="1706"/>
                    <a:pt x="820" y="1706"/>
                    <a:pt x="820" y="1706"/>
                  </a:cubicBezTo>
                  <a:cubicBezTo>
                    <a:pt x="916" y="1741"/>
                    <a:pt x="916" y="1741"/>
                    <a:pt x="916" y="1741"/>
                  </a:cubicBezTo>
                  <a:cubicBezTo>
                    <a:pt x="905" y="1786"/>
                    <a:pt x="905" y="1786"/>
                    <a:pt x="905" y="1786"/>
                  </a:cubicBezTo>
                  <a:cubicBezTo>
                    <a:pt x="831" y="1818"/>
                    <a:pt x="831" y="1818"/>
                    <a:pt x="831" y="1818"/>
                  </a:cubicBezTo>
                  <a:cubicBezTo>
                    <a:pt x="865" y="1880"/>
                    <a:pt x="865" y="1880"/>
                    <a:pt x="865" y="1880"/>
                  </a:cubicBezTo>
                  <a:cubicBezTo>
                    <a:pt x="1084" y="1784"/>
                    <a:pt x="1084" y="1784"/>
                    <a:pt x="1084" y="1784"/>
                  </a:cubicBezTo>
                  <a:cubicBezTo>
                    <a:pt x="1154" y="1797"/>
                    <a:pt x="1154" y="1797"/>
                    <a:pt x="1154" y="1797"/>
                  </a:cubicBezTo>
                  <a:cubicBezTo>
                    <a:pt x="1154" y="1797"/>
                    <a:pt x="1180" y="1789"/>
                    <a:pt x="1188" y="1696"/>
                  </a:cubicBezTo>
                  <a:cubicBezTo>
                    <a:pt x="1196" y="1602"/>
                    <a:pt x="1183" y="1551"/>
                    <a:pt x="1183" y="1551"/>
                  </a:cubicBezTo>
                  <a:cubicBezTo>
                    <a:pt x="1111" y="1503"/>
                    <a:pt x="1111" y="1503"/>
                    <a:pt x="1111" y="1503"/>
                  </a:cubicBezTo>
                  <a:cubicBezTo>
                    <a:pt x="1098" y="1455"/>
                    <a:pt x="1098" y="1455"/>
                    <a:pt x="1098" y="1455"/>
                  </a:cubicBezTo>
                  <a:cubicBezTo>
                    <a:pt x="1180" y="1450"/>
                    <a:pt x="1180" y="1450"/>
                    <a:pt x="1180" y="1450"/>
                  </a:cubicBezTo>
                  <a:cubicBezTo>
                    <a:pt x="1204" y="1410"/>
                    <a:pt x="1204" y="1410"/>
                    <a:pt x="1204" y="1410"/>
                  </a:cubicBezTo>
                  <a:cubicBezTo>
                    <a:pt x="1330" y="1391"/>
                    <a:pt x="1330" y="1391"/>
                    <a:pt x="1330" y="1391"/>
                  </a:cubicBezTo>
                  <a:cubicBezTo>
                    <a:pt x="1341" y="1517"/>
                    <a:pt x="1341" y="1517"/>
                    <a:pt x="1341" y="1517"/>
                  </a:cubicBezTo>
                  <a:cubicBezTo>
                    <a:pt x="1485" y="1522"/>
                    <a:pt x="1485" y="1522"/>
                    <a:pt x="1485" y="1522"/>
                  </a:cubicBezTo>
                  <a:cubicBezTo>
                    <a:pt x="1546" y="1437"/>
                    <a:pt x="1546" y="1437"/>
                    <a:pt x="1546" y="1437"/>
                  </a:cubicBezTo>
                  <a:cubicBezTo>
                    <a:pt x="1613" y="1437"/>
                    <a:pt x="1613" y="1437"/>
                    <a:pt x="1613" y="1437"/>
                  </a:cubicBezTo>
                  <a:cubicBezTo>
                    <a:pt x="1567" y="1578"/>
                    <a:pt x="1567" y="1578"/>
                    <a:pt x="1567" y="1578"/>
                  </a:cubicBezTo>
                  <a:cubicBezTo>
                    <a:pt x="1511" y="1602"/>
                    <a:pt x="1511" y="1602"/>
                    <a:pt x="1511" y="1602"/>
                  </a:cubicBezTo>
                  <a:cubicBezTo>
                    <a:pt x="1511" y="1672"/>
                    <a:pt x="1511" y="1672"/>
                    <a:pt x="1511" y="1672"/>
                  </a:cubicBezTo>
                  <a:cubicBezTo>
                    <a:pt x="1546" y="1690"/>
                    <a:pt x="1546" y="1690"/>
                    <a:pt x="1546" y="1690"/>
                  </a:cubicBezTo>
                  <a:cubicBezTo>
                    <a:pt x="1514" y="1784"/>
                    <a:pt x="1514" y="1784"/>
                    <a:pt x="1514" y="1784"/>
                  </a:cubicBezTo>
                  <a:cubicBezTo>
                    <a:pt x="1599" y="1794"/>
                    <a:pt x="1599" y="1794"/>
                    <a:pt x="1599" y="1794"/>
                  </a:cubicBezTo>
                  <a:cubicBezTo>
                    <a:pt x="1615" y="1960"/>
                    <a:pt x="1615" y="1960"/>
                    <a:pt x="1615" y="1960"/>
                  </a:cubicBezTo>
                  <a:cubicBezTo>
                    <a:pt x="1677" y="1947"/>
                    <a:pt x="1677" y="1947"/>
                    <a:pt x="1677" y="1947"/>
                  </a:cubicBezTo>
                  <a:cubicBezTo>
                    <a:pt x="1709" y="2067"/>
                    <a:pt x="1709" y="2067"/>
                    <a:pt x="1709" y="2067"/>
                  </a:cubicBezTo>
                  <a:cubicBezTo>
                    <a:pt x="1786" y="2072"/>
                    <a:pt x="1786" y="2072"/>
                    <a:pt x="1786" y="2072"/>
                  </a:cubicBezTo>
                  <a:cubicBezTo>
                    <a:pt x="1786" y="2072"/>
                    <a:pt x="1781" y="2131"/>
                    <a:pt x="1760" y="2163"/>
                  </a:cubicBezTo>
                  <a:cubicBezTo>
                    <a:pt x="1738" y="2195"/>
                    <a:pt x="1725" y="2280"/>
                    <a:pt x="1725" y="2280"/>
                  </a:cubicBezTo>
                  <a:cubicBezTo>
                    <a:pt x="1769" y="2295"/>
                    <a:pt x="1769" y="2295"/>
                    <a:pt x="1769" y="2295"/>
                  </a:cubicBezTo>
                  <a:cubicBezTo>
                    <a:pt x="1803" y="2280"/>
                    <a:pt x="1803" y="2280"/>
                    <a:pt x="1803" y="2280"/>
                  </a:cubicBezTo>
                  <a:cubicBezTo>
                    <a:pt x="1891" y="2299"/>
                    <a:pt x="1891" y="2299"/>
                    <a:pt x="1891" y="2299"/>
                  </a:cubicBezTo>
                  <a:cubicBezTo>
                    <a:pt x="1926" y="2359"/>
                    <a:pt x="1926" y="2359"/>
                    <a:pt x="1926" y="2359"/>
                  </a:cubicBezTo>
                  <a:cubicBezTo>
                    <a:pt x="1926" y="2359"/>
                    <a:pt x="1869" y="2368"/>
                    <a:pt x="1869" y="2392"/>
                  </a:cubicBezTo>
                  <a:cubicBezTo>
                    <a:pt x="1869" y="2417"/>
                    <a:pt x="1907" y="2483"/>
                    <a:pt x="1907" y="2483"/>
                  </a:cubicBezTo>
                  <a:cubicBezTo>
                    <a:pt x="1891" y="2527"/>
                    <a:pt x="1891" y="2527"/>
                    <a:pt x="1891" y="2527"/>
                  </a:cubicBezTo>
                  <a:cubicBezTo>
                    <a:pt x="1891" y="2527"/>
                    <a:pt x="1822" y="2560"/>
                    <a:pt x="1841" y="2592"/>
                  </a:cubicBezTo>
                  <a:cubicBezTo>
                    <a:pt x="1861" y="2625"/>
                    <a:pt x="1913" y="2655"/>
                    <a:pt x="1946" y="2642"/>
                  </a:cubicBezTo>
                  <a:cubicBezTo>
                    <a:pt x="1978" y="2628"/>
                    <a:pt x="1948" y="2584"/>
                    <a:pt x="1948" y="2584"/>
                  </a:cubicBezTo>
                  <a:cubicBezTo>
                    <a:pt x="2003" y="2527"/>
                    <a:pt x="2003" y="2527"/>
                    <a:pt x="2003" y="2527"/>
                  </a:cubicBezTo>
                  <a:cubicBezTo>
                    <a:pt x="2069" y="2524"/>
                    <a:pt x="2069" y="2524"/>
                    <a:pt x="2069" y="2524"/>
                  </a:cubicBezTo>
                  <a:cubicBezTo>
                    <a:pt x="2080" y="2561"/>
                    <a:pt x="2080" y="2561"/>
                    <a:pt x="2080" y="2561"/>
                  </a:cubicBezTo>
                  <a:cubicBezTo>
                    <a:pt x="2283" y="2471"/>
                    <a:pt x="2283" y="2471"/>
                    <a:pt x="2283" y="2471"/>
                  </a:cubicBezTo>
                  <a:cubicBezTo>
                    <a:pt x="2390" y="2343"/>
                    <a:pt x="2390" y="2343"/>
                    <a:pt x="2390" y="2343"/>
                  </a:cubicBezTo>
                  <a:cubicBezTo>
                    <a:pt x="2527" y="2395"/>
                    <a:pt x="2527" y="2395"/>
                    <a:pt x="2527" y="2395"/>
                  </a:cubicBezTo>
                  <a:cubicBezTo>
                    <a:pt x="2531" y="2324"/>
                    <a:pt x="2531" y="2324"/>
                    <a:pt x="2531" y="2324"/>
                  </a:cubicBezTo>
                  <a:cubicBezTo>
                    <a:pt x="2550" y="2309"/>
                    <a:pt x="2550" y="2309"/>
                    <a:pt x="2550" y="2309"/>
                  </a:cubicBezTo>
                  <a:cubicBezTo>
                    <a:pt x="2483" y="2181"/>
                    <a:pt x="2483" y="2181"/>
                    <a:pt x="2483" y="2181"/>
                  </a:cubicBezTo>
                  <a:cubicBezTo>
                    <a:pt x="2490" y="2102"/>
                    <a:pt x="2490" y="2102"/>
                    <a:pt x="2490" y="2102"/>
                  </a:cubicBezTo>
                  <a:cubicBezTo>
                    <a:pt x="2490" y="2102"/>
                    <a:pt x="2534" y="2096"/>
                    <a:pt x="2518" y="2043"/>
                  </a:cubicBezTo>
                  <a:cubicBezTo>
                    <a:pt x="2502" y="1989"/>
                    <a:pt x="2483" y="1930"/>
                    <a:pt x="2483" y="1930"/>
                  </a:cubicBezTo>
                  <a:cubicBezTo>
                    <a:pt x="2562" y="1886"/>
                    <a:pt x="2562" y="1886"/>
                    <a:pt x="2562" y="1886"/>
                  </a:cubicBezTo>
                  <a:cubicBezTo>
                    <a:pt x="2728" y="1883"/>
                    <a:pt x="2728" y="1883"/>
                    <a:pt x="2728" y="1883"/>
                  </a:cubicBezTo>
                  <a:cubicBezTo>
                    <a:pt x="2728" y="1883"/>
                    <a:pt x="2703" y="1845"/>
                    <a:pt x="2753" y="1795"/>
                  </a:cubicBezTo>
                  <a:cubicBezTo>
                    <a:pt x="2804" y="1744"/>
                    <a:pt x="2819" y="1741"/>
                    <a:pt x="2794" y="1701"/>
                  </a:cubicBezTo>
                  <a:cubicBezTo>
                    <a:pt x="2769" y="1660"/>
                    <a:pt x="2713" y="1628"/>
                    <a:pt x="2741" y="1603"/>
                  </a:cubicBezTo>
                  <a:cubicBezTo>
                    <a:pt x="2769" y="1578"/>
                    <a:pt x="2775" y="1559"/>
                    <a:pt x="2734" y="1528"/>
                  </a:cubicBezTo>
                  <a:cubicBezTo>
                    <a:pt x="2694" y="1496"/>
                    <a:pt x="2747" y="1443"/>
                    <a:pt x="2747" y="1443"/>
                  </a:cubicBezTo>
                  <a:cubicBezTo>
                    <a:pt x="2659" y="1248"/>
                    <a:pt x="2659" y="1248"/>
                    <a:pt x="2659" y="1248"/>
                  </a:cubicBezTo>
                  <a:cubicBezTo>
                    <a:pt x="2615" y="1223"/>
                    <a:pt x="2615" y="1223"/>
                    <a:pt x="2615" y="1223"/>
                  </a:cubicBezTo>
                  <a:cubicBezTo>
                    <a:pt x="2590" y="1092"/>
                    <a:pt x="2590" y="1092"/>
                    <a:pt x="2590" y="1092"/>
                  </a:cubicBezTo>
                  <a:cubicBezTo>
                    <a:pt x="2691" y="1095"/>
                    <a:pt x="2691" y="1095"/>
                    <a:pt x="2691" y="1095"/>
                  </a:cubicBezTo>
                  <a:cubicBezTo>
                    <a:pt x="2734" y="1029"/>
                    <a:pt x="2734" y="1029"/>
                    <a:pt x="2734" y="1029"/>
                  </a:cubicBezTo>
                  <a:cubicBezTo>
                    <a:pt x="2813" y="1026"/>
                    <a:pt x="2813" y="1026"/>
                    <a:pt x="2813" y="1026"/>
                  </a:cubicBezTo>
                  <a:cubicBezTo>
                    <a:pt x="2942" y="1070"/>
                    <a:pt x="2942" y="1070"/>
                    <a:pt x="2942" y="1070"/>
                  </a:cubicBezTo>
                  <a:cubicBezTo>
                    <a:pt x="3030" y="1004"/>
                    <a:pt x="3030" y="1004"/>
                    <a:pt x="3030" y="1004"/>
                  </a:cubicBezTo>
                  <a:cubicBezTo>
                    <a:pt x="3045" y="944"/>
                    <a:pt x="3045" y="944"/>
                    <a:pt x="3045" y="944"/>
                  </a:cubicBezTo>
                  <a:cubicBezTo>
                    <a:pt x="3091" y="911"/>
                    <a:pt x="3091" y="911"/>
                    <a:pt x="3091" y="911"/>
                  </a:cubicBezTo>
                  <a:lnTo>
                    <a:pt x="3051" y="873"/>
                  </a:lnTo>
                  <a:close/>
                  <a:moveTo>
                    <a:pt x="1521" y="877"/>
                  </a:moveTo>
                  <a:cubicBezTo>
                    <a:pt x="1484" y="912"/>
                    <a:pt x="1484" y="912"/>
                    <a:pt x="1484" y="912"/>
                  </a:cubicBezTo>
                  <a:cubicBezTo>
                    <a:pt x="1394" y="877"/>
                    <a:pt x="1394" y="877"/>
                    <a:pt x="1394" y="877"/>
                  </a:cubicBezTo>
                  <a:cubicBezTo>
                    <a:pt x="1353" y="877"/>
                    <a:pt x="1353" y="877"/>
                    <a:pt x="1353" y="877"/>
                  </a:cubicBezTo>
                  <a:cubicBezTo>
                    <a:pt x="1341" y="836"/>
                    <a:pt x="1341" y="836"/>
                    <a:pt x="1341" y="836"/>
                  </a:cubicBezTo>
                  <a:cubicBezTo>
                    <a:pt x="1280" y="740"/>
                    <a:pt x="1280" y="740"/>
                    <a:pt x="1280" y="740"/>
                  </a:cubicBezTo>
                  <a:cubicBezTo>
                    <a:pt x="1251" y="734"/>
                    <a:pt x="1251" y="734"/>
                    <a:pt x="1251" y="734"/>
                  </a:cubicBezTo>
                  <a:cubicBezTo>
                    <a:pt x="1232" y="683"/>
                    <a:pt x="1232" y="683"/>
                    <a:pt x="1232" y="683"/>
                  </a:cubicBezTo>
                  <a:cubicBezTo>
                    <a:pt x="1306" y="693"/>
                    <a:pt x="1306" y="693"/>
                    <a:pt x="1306" y="693"/>
                  </a:cubicBezTo>
                  <a:cubicBezTo>
                    <a:pt x="1312" y="724"/>
                    <a:pt x="1312" y="724"/>
                    <a:pt x="1312" y="724"/>
                  </a:cubicBezTo>
                  <a:cubicBezTo>
                    <a:pt x="1362" y="724"/>
                    <a:pt x="1362" y="724"/>
                    <a:pt x="1362" y="724"/>
                  </a:cubicBezTo>
                  <a:cubicBezTo>
                    <a:pt x="1378" y="759"/>
                    <a:pt x="1378" y="759"/>
                    <a:pt x="1378" y="759"/>
                  </a:cubicBezTo>
                  <a:cubicBezTo>
                    <a:pt x="1425" y="761"/>
                    <a:pt x="1425" y="761"/>
                    <a:pt x="1425" y="761"/>
                  </a:cubicBezTo>
                  <a:cubicBezTo>
                    <a:pt x="1452" y="804"/>
                    <a:pt x="1452" y="804"/>
                    <a:pt x="1452" y="804"/>
                  </a:cubicBezTo>
                  <a:cubicBezTo>
                    <a:pt x="1452" y="804"/>
                    <a:pt x="1519" y="748"/>
                    <a:pt x="1527" y="769"/>
                  </a:cubicBezTo>
                  <a:cubicBezTo>
                    <a:pt x="1534" y="791"/>
                    <a:pt x="1509" y="824"/>
                    <a:pt x="1509" y="824"/>
                  </a:cubicBezTo>
                  <a:lnTo>
                    <a:pt x="1521" y="877"/>
                  </a:lnTo>
                  <a:close/>
                  <a:moveTo>
                    <a:pt x="893" y="127"/>
                  </a:moveTo>
                  <a:cubicBezTo>
                    <a:pt x="910" y="142"/>
                    <a:pt x="927" y="144"/>
                    <a:pt x="944" y="133"/>
                  </a:cubicBezTo>
                  <a:cubicBezTo>
                    <a:pt x="969" y="111"/>
                    <a:pt x="817" y="129"/>
                    <a:pt x="893" y="127"/>
                  </a:cubicBezTo>
                  <a:close/>
                  <a:moveTo>
                    <a:pt x="849" y="135"/>
                  </a:moveTo>
                  <a:cubicBezTo>
                    <a:pt x="866" y="127"/>
                    <a:pt x="797" y="121"/>
                    <a:pt x="793" y="120"/>
                  </a:cubicBezTo>
                  <a:cubicBezTo>
                    <a:pt x="785" y="127"/>
                    <a:pt x="735" y="127"/>
                    <a:pt x="759" y="154"/>
                  </a:cubicBezTo>
                  <a:cubicBezTo>
                    <a:pt x="771" y="166"/>
                    <a:pt x="829" y="145"/>
                    <a:pt x="849" y="135"/>
                  </a:cubicBezTo>
                  <a:close/>
                  <a:moveTo>
                    <a:pt x="1176" y="105"/>
                  </a:moveTo>
                  <a:cubicBezTo>
                    <a:pt x="1201" y="96"/>
                    <a:pt x="1173" y="75"/>
                    <a:pt x="1173" y="75"/>
                  </a:cubicBezTo>
                  <a:cubicBezTo>
                    <a:pt x="1142" y="80"/>
                    <a:pt x="1152" y="114"/>
                    <a:pt x="1176" y="105"/>
                  </a:cubicBezTo>
                  <a:close/>
                  <a:moveTo>
                    <a:pt x="1028" y="200"/>
                  </a:moveTo>
                  <a:cubicBezTo>
                    <a:pt x="1055" y="200"/>
                    <a:pt x="1103" y="166"/>
                    <a:pt x="1045" y="175"/>
                  </a:cubicBezTo>
                  <a:cubicBezTo>
                    <a:pt x="1046" y="168"/>
                    <a:pt x="1010" y="200"/>
                    <a:pt x="1028" y="200"/>
                  </a:cubicBezTo>
                  <a:close/>
                  <a:moveTo>
                    <a:pt x="972" y="169"/>
                  </a:moveTo>
                  <a:cubicBezTo>
                    <a:pt x="983" y="169"/>
                    <a:pt x="983" y="155"/>
                    <a:pt x="971" y="155"/>
                  </a:cubicBezTo>
                  <a:cubicBezTo>
                    <a:pt x="971" y="155"/>
                    <a:pt x="962" y="169"/>
                    <a:pt x="972" y="169"/>
                  </a:cubicBezTo>
                  <a:close/>
                  <a:moveTo>
                    <a:pt x="968" y="147"/>
                  </a:moveTo>
                  <a:cubicBezTo>
                    <a:pt x="981" y="145"/>
                    <a:pt x="978" y="135"/>
                    <a:pt x="965" y="135"/>
                  </a:cubicBezTo>
                  <a:cubicBezTo>
                    <a:pt x="965" y="135"/>
                    <a:pt x="955" y="149"/>
                    <a:pt x="968" y="147"/>
                  </a:cubicBezTo>
                  <a:close/>
                  <a:moveTo>
                    <a:pt x="644" y="183"/>
                  </a:moveTo>
                  <a:cubicBezTo>
                    <a:pt x="667" y="183"/>
                    <a:pt x="702" y="161"/>
                    <a:pt x="733" y="160"/>
                  </a:cubicBezTo>
                  <a:cubicBezTo>
                    <a:pt x="724" y="136"/>
                    <a:pt x="702" y="131"/>
                    <a:pt x="669" y="145"/>
                  </a:cubicBezTo>
                  <a:cubicBezTo>
                    <a:pt x="680" y="136"/>
                    <a:pt x="601" y="183"/>
                    <a:pt x="644" y="183"/>
                  </a:cubicBezTo>
                  <a:close/>
                  <a:moveTo>
                    <a:pt x="290" y="244"/>
                  </a:moveTo>
                  <a:cubicBezTo>
                    <a:pt x="279" y="223"/>
                    <a:pt x="263" y="232"/>
                    <a:pt x="277" y="250"/>
                  </a:cubicBezTo>
                  <a:cubicBezTo>
                    <a:pt x="291" y="268"/>
                    <a:pt x="290" y="244"/>
                    <a:pt x="290" y="244"/>
                  </a:cubicBezTo>
                  <a:close/>
                  <a:moveTo>
                    <a:pt x="329" y="218"/>
                  </a:moveTo>
                  <a:cubicBezTo>
                    <a:pt x="360" y="220"/>
                    <a:pt x="390" y="218"/>
                    <a:pt x="420" y="210"/>
                  </a:cubicBezTo>
                  <a:cubicBezTo>
                    <a:pt x="396" y="175"/>
                    <a:pt x="319" y="216"/>
                    <a:pt x="291" y="216"/>
                  </a:cubicBezTo>
                  <a:cubicBezTo>
                    <a:pt x="304" y="218"/>
                    <a:pt x="316" y="219"/>
                    <a:pt x="329" y="218"/>
                  </a:cubicBezTo>
                  <a:close/>
                  <a:moveTo>
                    <a:pt x="440" y="198"/>
                  </a:moveTo>
                  <a:cubicBezTo>
                    <a:pt x="458" y="204"/>
                    <a:pt x="495" y="193"/>
                    <a:pt x="520" y="191"/>
                  </a:cubicBezTo>
                  <a:cubicBezTo>
                    <a:pt x="533" y="191"/>
                    <a:pt x="570" y="200"/>
                    <a:pt x="567" y="172"/>
                  </a:cubicBezTo>
                  <a:cubicBezTo>
                    <a:pt x="564" y="128"/>
                    <a:pt x="416" y="190"/>
                    <a:pt x="440" y="198"/>
                  </a:cubicBezTo>
                  <a:close/>
                  <a:moveTo>
                    <a:pt x="600" y="164"/>
                  </a:moveTo>
                  <a:cubicBezTo>
                    <a:pt x="574" y="161"/>
                    <a:pt x="592" y="182"/>
                    <a:pt x="592" y="182"/>
                  </a:cubicBezTo>
                  <a:cubicBezTo>
                    <a:pt x="611" y="182"/>
                    <a:pt x="626" y="167"/>
                    <a:pt x="600" y="164"/>
                  </a:cubicBez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196" name="Freeform 12">
              <a:extLst>
                <a:ext uri="{FF2B5EF4-FFF2-40B4-BE49-F238E27FC236}">
                  <a16:creationId xmlns:a16="http://schemas.microsoft.com/office/drawing/2014/main" id="{B2BC8F49-6116-024B-B1BF-5F35E9D0EBA5}"/>
                </a:ext>
              </a:extLst>
            </p:cNvPr>
            <p:cNvSpPr>
              <a:spLocks/>
            </p:cNvSpPr>
            <p:nvPr/>
          </p:nvSpPr>
          <p:spPr bwMode="auto">
            <a:xfrm>
              <a:off x="1837" y="1387"/>
              <a:ext cx="611" cy="801"/>
            </a:xfrm>
            <a:custGeom>
              <a:avLst/>
              <a:gdLst>
                <a:gd name="T0" fmla="*/ 1019 w 1614"/>
                <a:gd name="T1" fmla="*/ 1811 h 2114"/>
                <a:gd name="T2" fmla="*/ 1028 w 1614"/>
                <a:gd name="T3" fmla="*/ 1713 h 2114"/>
                <a:gd name="T4" fmla="*/ 996 w 1614"/>
                <a:gd name="T5" fmla="*/ 1581 h 2114"/>
                <a:gd name="T6" fmla="*/ 1014 w 1614"/>
                <a:gd name="T7" fmla="*/ 1521 h 2114"/>
                <a:gd name="T8" fmla="*/ 1142 w 1614"/>
                <a:gd name="T9" fmla="*/ 1446 h 2114"/>
                <a:gd name="T10" fmla="*/ 1406 w 1614"/>
                <a:gd name="T11" fmla="*/ 1361 h 2114"/>
                <a:gd name="T12" fmla="*/ 1536 w 1614"/>
                <a:gd name="T13" fmla="*/ 1414 h 2114"/>
                <a:gd name="T14" fmla="*/ 1601 w 1614"/>
                <a:gd name="T15" fmla="*/ 1275 h 2114"/>
                <a:gd name="T16" fmla="*/ 1567 w 1614"/>
                <a:gd name="T17" fmla="*/ 1156 h 2114"/>
                <a:gd name="T18" fmla="*/ 1369 w 1614"/>
                <a:gd name="T19" fmla="*/ 1080 h 2114"/>
                <a:gd name="T20" fmla="*/ 1143 w 1614"/>
                <a:gd name="T21" fmla="*/ 1017 h 2114"/>
                <a:gd name="T22" fmla="*/ 1055 w 1614"/>
                <a:gd name="T23" fmla="*/ 704 h 2114"/>
                <a:gd name="T24" fmla="*/ 977 w 1614"/>
                <a:gd name="T25" fmla="*/ 540 h 2114"/>
                <a:gd name="T26" fmla="*/ 999 w 1614"/>
                <a:gd name="T27" fmla="*/ 421 h 2114"/>
                <a:gd name="T28" fmla="*/ 929 w 1614"/>
                <a:gd name="T29" fmla="*/ 145 h 2114"/>
                <a:gd name="T30" fmla="*/ 766 w 1614"/>
                <a:gd name="T31" fmla="*/ 129 h 2114"/>
                <a:gd name="T32" fmla="*/ 644 w 1614"/>
                <a:gd name="T33" fmla="*/ 0 h 2114"/>
                <a:gd name="T34" fmla="*/ 547 w 1614"/>
                <a:gd name="T35" fmla="*/ 120 h 2114"/>
                <a:gd name="T36" fmla="*/ 330 w 1614"/>
                <a:gd name="T37" fmla="*/ 142 h 2114"/>
                <a:gd name="T38" fmla="*/ 208 w 1614"/>
                <a:gd name="T39" fmla="*/ 211 h 2114"/>
                <a:gd name="T40" fmla="*/ 132 w 1614"/>
                <a:gd name="T41" fmla="*/ 339 h 2114"/>
                <a:gd name="T42" fmla="*/ 264 w 1614"/>
                <a:gd name="T43" fmla="*/ 559 h 2114"/>
                <a:gd name="T44" fmla="*/ 258 w 1614"/>
                <a:gd name="T45" fmla="*/ 719 h 2114"/>
                <a:gd name="T46" fmla="*/ 270 w 1614"/>
                <a:gd name="T47" fmla="*/ 911 h 2114"/>
                <a:gd name="T48" fmla="*/ 79 w 1614"/>
                <a:gd name="T49" fmla="*/ 1002 h 2114"/>
                <a:gd name="T50" fmla="*/ 35 w 1614"/>
                <a:gd name="T51" fmla="*/ 1159 h 2114"/>
                <a:gd name="T52" fmla="*/ 0 w 1614"/>
                <a:gd name="T53" fmla="*/ 1297 h 2114"/>
                <a:gd name="T54" fmla="*/ 78 w 1614"/>
                <a:gd name="T55" fmla="*/ 1416 h 2114"/>
                <a:gd name="T56" fmla="*/ 243 w 1614"/>
                <a:gd name="T57" fmla="*/ 1627 h 2114"/>
                <a:gd name="T58" fmla="*/ 522 w 1614"/>
                <a:gd name="T59" fmla="*/ 1688 h 2114"/>
                <a:gd name="T60" fmla="*/ 562 w 1614"/>
                <a:gd name="T61" fmla="*/ 1869 h 2114"/>
                <a:gd name="T62" fmla="*/ 635 w 1614"/>
                <a:gd name="T63" fmla="*/ 1951 h 2114"/>
                <a:gd name="T64" fmla="*/ 739 w 1614"/>
                <a:gd name="T65" fmla="*/ 2007 h 2114"/>
                <a:gd name="T66" fmla="*/ 923 w 1614"/>
                <a:gd name="T67" fmla="*/ 2083 h 2114"/>
                <a:gd name="T68" fmla="*/ 1048 w 1614"/>
                <a:gd name="T69" fmla="*/ 2104 h 2114"/>
                <a:gd name="T70" fmla="*/ 1060 w 1614"/>
                <a:gd name="T71" fmla="*/ 1997 h 2114"/>
                <a:gd name="T72" fmla="*/ 1047 w 1614"/>
                <a:gd name="T73" fmla="*/ 1947 h 2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4" h="2114">
                  <a:moveTo>
                    <a:pt x="1047" y="1947"/>
                  </a:moveTo>
                  <a:cubicBezTo>
                    <a:pt x="1019" y="1811"/>
                    <a:pt x="1019" y="1811"/>
                    <a:pt x="1019" y="1811"/>
                  </a:cubicBezTo>
                  <a:cubicBezTo>
                    <a:pt x="989" y="1736"/>
                    <a:pt x="989" y="1736"/>
                    <a:pt x="989" y="1736"/>
                  </a:cubicBezTo>
                  <a:cubicBezTo>
                    <a:pt x="1028" y="1713"/>
                    <a:pt x="1028" y="1713"/>
                    <a:pt x="1028" y="1713"/>
                  </a:cubicBezTo>
                  <a:cubicBezTo>
                    <a:pt x="1003" y="1676"/>
                    <a:pt x="1003" y="1676"/>
                    <a:pt x="1003" y="1676"/>
                  </a:cubicBezTo>
                  <a:cubicBezTo>
                    <a:pt x="996" y="1581"/>
                    <a:pt x="996" y="1581"/>
                    <a:pt x="996" y="1581"/>
                  </a:cubicBezTo>
                  <a:cubicBezTo>
                    <a:pt x="1021" y="1558"/>
                    <a:pt x="1021" y="1558"/>
                    <a:pt x="1021" y="1558"/>
                  </a:cubicBezTo>
                  <a:cubicBezTo>
                    <a:pt x="1014" y="1521"/>
                    <a:pt x="1014" y="1521"/>
                    <a:pt x="1014" y="1521"/>
                  </a:cubicBezTo>
                  <a:cubicBezTo>
                    <a:pt x="1042" y="1493"/>
                    <a:pt x="1042" y="1493"/>
                    <a:pt x="1042" y="1493"/>
                  </a:cubicBezTo>
                  <a:cubicBezTo>
                    <a:pt x="1042" y="1493"/>
                    <a:pt x="1105" y="1460"/>
                    <a:pt x="1142" y="1446"/>
                  </a:cubicBezTo>
                  <a:cubicBezTo>
                    <a:pt x="1179" y="1433"/>
                    <a:pt x="1281" y="1433"/>
                    <a:pt x="1281" y="1433"/>
                  </a:cubicBezTo>
                  <a:cubicBezTo>
                    <a:pt x="1406" y="1361"/>
                    <a:pt x="1406" y="1361"/>
                    <a:pt x="1406" y="1361"/>
                  </a:cubicBezTo>
                  <a:cubicBezTo>
                    <a:pt x="1497" y="1405"/>
                    <a:pt x="1497" y="1405"/>
                    <a:pt x="1497" y="1405"/>
                  </a:cubicBezTo>
                  <a:cubicBezTo>
                    <a:pt x="1536" y="1414"/>
                    <a:pt x="1536" y="1414"/>
                    <a:pt x="1536" y="1414"/>
                  </a:cubicBezTo>
                  <a:cubicBezTo>
                    <a:pt x="1614" y="1334"/>
                    <a:pt x="1614" y="1334"/>
                    <a:pt x="1614" y="1334"/>
                  </a:cubicBezTo>
                  <a:cubicBezTo>
                    <a:pt x="1601" y="1275"/>
                    <a:pt x="1601" y="1275"/>
                    <a:pt x="1601" y="1275"/>
                  </a:cubicBezTo>
                  <a:cubicBezTo>
                    <a:pt x="1604" y="1159"/>
                    <a:pt x="1604" y="1159"/>
                    <a:pt x="1604" y="1159"/>
                  </a:cubicBezTo>
                  <a:cubicBezTo>
                    <a:pt x="1567" y="1156"/>
                    <a:pt x="1567" y="1156"/>
                    <a:pt x="1567" y="1156"/>
                  </a:cubicBezTo>
                  <a:cubicBezTo>
                    <a:pt x="1466" y="1090"/>
                    <a:pt x="1466" y="1090"/>
                    <a:pt x="1466" y="1090"/>
                  </a:cubicBezTo>
                  <a:cubicBezTo>
                    <a:pt x="1369" y="1080"/>
                    <a:pt x="1369" y="1080"/>
                    <a:pt x="1369" y="1080"/>
                  </a:cubicBezTo>
                  <a:cubicBezTo>
                    <a:pt x="1181" y="1005"/>
                    <a:pt x="1181" y="1005"/>
                    <a:pt x="1181" y="1005"/>
                  </a:cubicBezTo>
                  <a:cubicBezTo>
                    <a:pt x="1143" y="1017"/>
                    <a:pt x="1143" y="1017"/>
                    <a:pt x="1143" y="1017"/>
                  </a:cubicBezTo>
                  <a:cubicBezTo>
                    <a:pt x="1143" y="1017"/>
                    <a:pt x="1074" y="973"/>
                    <a:pt x="1021" y="923"/>
                  </a:cubicBezTo>
                  <a:cubicBezTo>
                    <a:pt x="967" y="873"/>
                    <a:pt x="1036" y="747"/>
                    <a:pt x="1055" y="704"/>
                  </a:cubicBezTo>
                  <a:cubicBezTo>
                    <a:pt x="1074" y="660"/>
                    <a:pt x="1058" y="534"/>
                    <a:pt x="1058" y="534"/>
                  </a:cubicBezTo>
                  <a:cubicBezTo>
                    <a:pt x="977" y="540"/>
                    <a:pt x="977" y="540"/>
                    <a:pt x="977" y="540"/>
                  </a:cubicBezTo>
                  <a:cubicBezTo>
                    <a:pt x="964" y="506"/>
                    <a:pt x="964" y="506"/>
                    <a:pt x="964" y="506"/>
                  </a:cubicBezTo>
                  <a:cubicBezTo>
                    <a:pt x="999" y="421"/>
                    <a:pt x="999" y="421"/>
                    <a:pt x="999" y="421"/>
                  </a:cubicBezTo>
                  <a:cubicBezTo>
                    <a:pt x="1005" y="182"/>
                    <a:pt x="1005" y="182"/>
                    <a:pt x="1005" y="182"/>
                  </a:cubicBezTo>
                  <a:cubicBezTo>
                    <a:pt x="929" y="145"/>
                    <a:pt x="929" y="145"/>
                    <a:pt x="929" y="145"/>
                  </a:cubicBezTo>
                  <a:cubicBezTo>
                    <a:pt x="867" y="173"/>
                    <a:pt x="867" y="173"/>
                    <a:pt x="867" y="173"/>
                  </a:cubicBezTo>
                  <a:cubicBezTo>
                    <a:pt x="766" y="129"/>
                    <a:pt x="766" y="129"/>
                    <a:pt x="766" y="129"/>
                  </a:cubicBezTo>
                  <a:cubicBezTo>
                    <a:pt x="766" y="79"/>
                    <a:pt x="766" y="79"/>
                    <a:pt x="766" y="79"/>
                  </a:cubicBezTo>
                  <a:cubicBezTo>
                    <a:pt x="644" y="0"/>
                    <a:pt x="644" y="0"/>
                    <a:pt x="644" y="0"/>
                  </a:cubicBezTo>
                  <a:cubicBezTo>
                    <a:pt x="562" y="60"/>
                    <a:pt x="562" y="60"/>
                    <a:pt x="562" y="60"/>
                  </a:cubicBezTo>
                  <a:cubicBezTo>
                    <a:pt x="547" y="120"/>
                    <a:pt x="547" y="120"/>
                    <a:pt x="547" y="120"/>
                  </a:cubicBezTo>
                  <a:cubicBezTo>
                    <a:pt x="459" y="186"/>
                    <a:pt x="459" y="186"/>
                    <a:pt x="459" y="186"/>
                  </a:cubicBezTo>
                  <a:cubicBezTo>
                    <a:pt x="330" y="142"/>
                    <a:pt x="330" y="142"/>
                    <a:pt x="330" y="142"/>
                  </a:cubicBezTo>
                  <a:cubicBezTo>
                    <a:pt x="251" y="145"/>
                    <a:pt x="251" y="145"/>
                    <a:pt x="251" y="145"/>
                  </a:cubicBezTo>
                  <a:cubicBezTo>
                    <a:pt x="208" y="211"/>
                    <a:pt x="208" y="211"/>
                    <a:pt x="208" y="211"/>
                  </a:cubicBezTo>
                  <a:cubicBezTo>
                    <a:pt x="107" y="208"/>
                    <a:pt x="107" y="208"/>
                    <a:pt x="107" y="208"/>
                  </a:cubicBezTo>
                  <a:cubicBezTo>
                    <a:pt x="132" y="339"/>
                    <a:pt x="132" y="339"/>
                    <a:pt x="132" y="339"/>
                  </a:cubicBezTo>
                  <a:cubicBezTo>
                    <a:pt x="176" y="364"/>
                    <a:pt x="176" y="364"/>
                    <a:pt x="176" y="364"/>
                  </a:cubicBezTo>
                  <a:cubicBezTo>
                    <a:pt x="264" y="559"/>
                    <a:pt x="264" y="559"/>
                    <a:pt x="264" y="559"/>
                  </a:cubicBezTo>
                  <a:cubicBezTo>
                    <a:pt x="264" y="559"/>
                    <a:pt x="211" y="612"/>
                    <a:pt x="251" y="644"/>
                  </a:cubicBezTo>
                  <a:cubicBezTo>
                    <a:pt x="292" y="675"/>
                    <a:pt x="286" y="694"/>
                    <a:pt x="258" y="719"/>
                  </a:cubicBezTo>
                  <a:cubicBezTo>
                    <a:pt x="230" y="744"/>
                    <a:pt x="286" y="776"/>
                    <a:pt x="311" y="817"/>
                  </a:cubicBezTo>
                  <a:cubicBezTo>
                    <a:pt x="336" y="857"/>
                    <a:pt x="321" y="860"/>
                    <a:pt x="270" y="911"/>
                  </a:cubicBezTo>
                  <a:cubicBezTo>
                    <a:pt x="220" y="961"/>
                    <a:pt x="245" y="999"/>
                    <a:pt x="245" y="999"/>
                  </a:cubicBezTo>
                  <a:cubicBezTo>
                    <a:pt x="79" y="1002"/>
                    <a:pt x="79" y="1002"/>
                    <a:pt x="79" y="1002"/>
                  </a:cubicBezTo>
                  <a:cubicBezTo>
                    <a:pt x="0" y="1046"/>
                    <a:pt x="0" y="1046"/>
                    <a:pt x="0" y="1046"/>
                  </a:cubicBezTo>
                  <a:cubicBezTo>
                    <a:pt x="0" y="1046"/>
                    <a:pt x="19" y="1105"/>
                    <a:pt x="35" y="1159"/>
                  </a:cubicBezTo>
                  <a:cubicBezTo>
                    <a:pt x="51" y="1212"/>
                    <a:pt x="7" y="1218"/>
                    <a:pt x="7" y="1218"/>
                  </a:cubicBezTo>
                  <a:cubicBezTo>
                    <a:pt x="0" y="1297"/>
                    <a:pt x="0" y="1297"/>
                    <a:pt x="0" y="1297"/>
                  </a:cubicBezTo>
                  <a:cubicBezTo>
                    <a:pt x="67" y="1425"/>
                    <a:pt x="67" y="1425"/>
                    <a:pt x="67" y="1425"/>
                  </a:cubicBezTo>
                  <a:cubicBezTo>
                    <a:pt x="78" y="1416"/>
                    <a:pt x="78" y="1416"/>
                    <a:pt x="78" y="1416"/>
                  </a:cubicBezTo>
                  <a:cubicBezTo>
                    <a:pt x="237" y="1437"/>
                    <a:pt x="237" y="1437"/>
                    <a:pt x="237" y="1437"/>
                  </a:cubicBezTo>
                  <a:cubicBezTo>
                    <a:pt x="243" y="1627"/>
                    <a:pt x="243" y="1627"/>
                    <a:pt x="243" y="1627"/>
                  </a:cubicBezTo>
                  <a:cubicBezTo>
                    <a:pt x="445" y="1636"/>
                    <a:pt x="445" y="1636"/>
                    <a:pt x="445" y="1636"/>
                  </a:cubicBezTo>
                  <a:cubicBezTo>
                    <a:pt x="445" y="1636"/>
                    <a:pt x="510" y="1655"/>
                    <a:pt x="522" y="1688"/>
                  </a:cubicBezTo>
                  <a:cubicBezTo>
                    <a:pt x="534" y="1722"/>
                    <a:pt x="491" y="1802"/>
                    <a:pt x="497" y="1835"/>
                  </a:cubicBezTo>
                  <a:cubicBezTo>
                    <a:pt x="504" y="1869"/>
                    <a:pt x="552" y="1850"/>
                    <a:pt x="562" y="1869"/>
                  </a:cubicBezTo>
                  <a:cubicBezTo>
                    <a:pt x="571" y="1887"/>
                    <a:pt x="574" y="1945"/>
                    <a:pt x="574" y="1945"/>
                  </a:cubicBezTo>
                  <a:cubicBezTo>
                    <a:pt x="635" y="1951"/>
                    <a:pt x="635" y="1951"/>
                    <a:pt x="635" y="1951"/>
                  </a:cubicBezTo>
                  <a:cubicBezTo>
                    <a:pt x="706" y="1942"/>
                    <a:pt x="706" y="1942"/>
                    <a:pt x="706" y="1942"/>
                  </a:cubicBezTo>
                  <a:cubicBezTo>
                    <a:pt x="706" y="1942"/>
                    <a:pt x="699" y="1997"/>
                    <a:pt x="739" y="2007"/>
                  </a:cubicBezTo>
                  <a:cubicBezTo>
                    <a:pt x="779" y="2016"/>
                    <a:pt x="816" y="1991"/>
                    <a:pt x="834" y="1997"/>
                  </a:cubicBezTo>
                  <a:cubicBezTo>
                    <a:pt x="852" y="2003"/>
                    <a:pt x="923" y="2083"/>
                    <a:pt x="923" y="2083"/>
                  </a:cubicBezTo>
                  <a:cubicBezTo>
                    <a:pt x="1018" y="2074"/>
                    <a:pt x="1018" y="2074"/>
                    <a:pt x="1018" y="2074"/>
                  </a:cubicBezTo>
                  <a:cubicBezTo>
                    <a:pt x="1018" y="2074"/>
                    <a:pt x="1027" y="2114"/>
                    <a:pt x="1048" y="2104"/>
                  </a:cubicBezTo>
                  <a:cubicBezTo>
                    <a:pt x="1070" y="2095"/>
                    <a:pt x="1088" y="2049"/>
                    <a:pt x="1088" y="2028"/>
                  </a:cubicBezTo>
                  <a:cubicBezTo>
                    <a:pt x="1088" y="2007"/>
                    <a:pt x="1060" y="1997"/>
                    <a:pt x="1060" y="1997"/>
                  </a:cubicBezTo>
                  <a:cubicBezTo>
                    <a:pt x="1076" y="1953"/>
                    <a:pt x="1076" y="1953"/>
                    <a:pt x="1076" y="1953"/>
                  </a:cubicBezTo>
                  <a:lnTo>
                    <a:pt x="1047" y="1947"/>
                  </a:lnTo>
                  <a:close/>
                </a:path>
              </a:pathLst>
            </a:custGeom>
            <a:solidFill>
              <a:schemeClr val="folHlink"/>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197" name="Freeform 13">
              <a:extLst>
                <a:ext uri="{FF2B5EF4-FFF2-40B4-BE49-F238E27FC236}">
                  <a16:creationId xmlns:a16="http://schemas.microsoft.com/office/drawing/2014/main" id="{5B2ED64C-B313-1147-8E24-1F4FB4559FC3}"/>
                </a:ext>
              </a:extLst>
            </p:cNvPr>
            <p:cNvSpPr>
              <a:spLocks/>
            </p:cNvSpPr>
            <p:nvPr/>
          </p:nvSpPr>
          <p:spPr bwMode="auto">
            <a:xfrm>
              <a:off x="1665" y="1923"/>
              <a:ext cx="668" cy="534"/>
            </a:xfrm>
            <a:custGeom>
              <a:avLst/>
              <a:gdLst>
                <a:gd name="T0" fmla="*/ 1363 w 1764"/>
                <a:gd name="T1" fmla="*/ 1002 h 1408"/>
                <a:gd name="T2" fmla="*/ 1460 w 1764"/>
                <a:gd name="T3" fmla="*/ 1053 h 1408"/>
                <a:gd name="T4" fmla="*/ 1539 w 1764"/>
                <a:gd name="T5" fmla="*/ 1009 h 1408"/>
                <a:gd name="T6" fmla="*/ 1511 w 1764"/>
                <a:gd name="T7" fmla="*/ 875 h 1408"/>
                <a:gd name="T8" fmla="*/ 1764 w 1764"/>
                <a:gd name="T9" fmla="*/ 710 h 1408"/>
                <a:gd name="T10" fmla="*/ 1671 w 1764"/>
                <a:gd name="T11" fmla="*/ 592 h 1408"/>
                <a:gd name="T12" fmla="*/ 1529 w 1764"/>
                <a:gd name="T13" fmla="*/ 537 h 1408"/>
                <a:gd name="T14" fmla="*/ 1541 w 1764"/>
                <a:gd name="T15" fmla="*/ 612 h 1408"/>
                <a:gd name="T16" fmla="*/ 1471 w 1764"/>
                <a:gd name="T17" fmla="*/ 658 h 1408"/>
                <a:gd name="T18" fmla="*/ 1287 w 1764"/>
                <a:gd name="T19" fmla="*/ 581 h 1408"/>
                <a:gd name="T20" fmla="*/ 1159 w 1764"/>
                <a:gd name="T21" fmla="*/ 526 h 1408"/>
                <a:gd name="T22" fmla="*/ 1027 w 1764"/>
                <a:gd name="T23" fmla="*/ 529 h 1408"/>
                <a:gd name="T24" fmla="*/ 950 w 1764"/>
                <a:gd name="T25" fmla="*/ 419 h 1408"/>
                <a:gd name="T26" fmla="*/ 898 w 1764"/>
                <a:gd name="T27" fmla="*/ 220 h 1408"/>
                <a:gd name="T28" fmla="*/ 690 w 1764"/>
                <a:gd name="T29" fmla="*/ 21 h 1408"/>
                <a:gd name="T30" fmla="*/ 501 w 1764"/>
                <a:gd name="T31" fmla="*/ 24 h 1408"/>
                <a:gd name="T32" fmla="*/ 360 w 1764"/>
                <a:gd name="T33" fmla="*/ 43 h 1408"/>
                <a:gd name="T34" fmla="*/ 50 w 1764"/>
                <a:gd name="T35" fmla="*/ 261 h 1408"/>
                <a:gd name="T36" fmla="*/ 225 w 1764"/>
                <a:gd name="T37" fmla="*/ 460 h 1408"/>
                <a:gd name="T38" fmla="*/ 173 w 1764"/>
                <a:gd name="T39" fmla="*/ 577 h 1408"/>
                <a:gd name="T40" fmla="*/ 113 w 1764"/>
                <a:gd name="T41" fmla="*/ 635 h 1408"/>
                <a:gd name="T42" fmla="*/ 113 w 1764"/>
                <a:gd name="T43" fmla="*/ 758 h 1408"/>
                <a:gd name="T44" fmla="*/ 61 w 1764"/>
                <a:gd name="T45" fmla="*/ 816 h 1408"/>
                <a:gd name="T46" fmla="*/ 61 w 1764"/>
                <a:gd name="T47" fmla="*/ 1005 h 1408"/>
                <a:gd name="T48" fmla="*/ 124 w 1764"/>
                <a:gd name="T49" fmla="*/ 967 h 1408"/>
                <a:gd name="T50" fmla="*/ 113 w 1764"/>
                <a:gd name="T51" fmla="*/ 1016 h 1408"/>
                <a:gd name="T52" fmla="*/ 117 w 1764"/>
                <a:gd name="T53" fmla="*/ 1133 h 1408"/>
                <a:gd name="T54" fmla="*/ 290 w 1764"/>
                <a:gd name="T55" fmla="*/ 1162 h 1408"/>
                <a:gd name="T56" fmla="*/ 452 w 1764"/>
                <a:gd name="T57" fmla="*/ 1310 h 1408"/>
                <a:gd name="T58" fmla="*/ 632 w 1764"/>
                <a:gd name="T59" fmla="*/ 1378 h 1408"/>
                <a:gd name="T60" fmla="*/ 656 w 1764"/>
                <a:gd name="T61" fmla="*/ 1258 h 1408"/>
                <a:gd name="T62" fmla="*/ 812 w 1764"/>
                <a:gd name="T63" fmla="*/ 1348 h 1408"/>
                <a:gd name="T64" fmla="*/ 890 w 1764"/>
                <a:gd name="T65" fmla="*/ 1168 h 1408"/>
                <a:gd name="T66" fmla="*/ 1046 w 1764"/>
                <a:gd name="T67" fmla="*/ 1252 h 1408"/>
                <a:gd name="T68" fmla="*/ 1250 w 1764"/>
                <a:gd name="T69" fmla="*/ 1234 h 1408"/>
                <a:gd name="T70" fmla="*/ 1296 w 1764"/>
                <a:gd name="T71" fmla="*/ 1109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64" h="1408">
                  <a:moveTo>
                    <a:pt x="1296" y="1109"/>
                  </a:moveTo>
                  <a:cubicBezTo>
                    <a:pt x="1363" y="1002"/>
                    <a:pt x="1363" y="1002"/>
                    <a:pt x="1363" y="1002"/>
                  </a:cubicBezTo>
                  <a:cubicBezTo>
                    <a:pt x="1402" y="1067"/>
                    <a:pt x="1402" y="1067"/>
                    <a:pt x="1402" y="1067"/>
                  </a:cubicBezTo>
                  <a:cubicBezTo>
                    <a:pt x="1460" y="1053"/>
                    <a:pt x="1460" y="1053"/>
                    <a:pt x="1460" y="1053"/>
                  </a:cubicBezTo>
                  <a:cubicBezTo>
                    <a:pt x="1465" y="1009"/>
                    <a:pt x="1465" y="1009"/>
                    <a:pt x="1465" y="1009"/>
                  </a:cubicBezTo>
                  <a:cubicBezTo>
                    <a:pt x="1539" y="1009"/>
                    <a:pt x="1539" y="1009"/>
                    <a:pt x="1539" y="1009"/>
                  </a:cubicBezTo>
                  <a:cubicBezTo>
                    <a:pt x="1539" y="1009"/>
                    <a:pt x="1569" y="997"/>
                    <a:pt x="1560" y="956"/>
                  </a:cubicBezTo>
                  <a:cubicBezTo>
                    <a:pt x="1551" y="914"/>
                    <a:pt x="1509" y="923"/>
                    <a:pt x="1511" y="875"/>
                  </a:cubicBezTo>
                  <a:cubicBezTo>
                    <a:pt x="1514" y="826"/>
                    <a:pt x="1565" y="812"/>
                    <a:pt x="1565" y="812"/>
                  </a:cubicBezTo>
                  <a:cubicBezTo>
                    <a:pt x="1764" y="710"/>
                    <a:pt x="1764" y="710"/>
                    <a:pt x="1764" y="710"/>
                  </a:cubicBezTo>
                  <a:cubicBezTo>
                    <a:pt x="1739" y="640"/>
                    <a:pt x="1739" y="640"/>
                    <a:pt x="1739" y="640"/>
                  </a:cubicBezTo>
                  <a:cubicBezTo>
                    <a:pt x="1671" y="592"/>
                    <a:pt x="1671" y="592"/>
                    <a:pt x="1671" y="592"/>
                  </a:cubicBezTo>
                  <a:cubicBezTo>
                    <a:pt x="1674" y="564"/>
                    <a:pt x="1674" y="564"/>
                    <a:pt x="1674" y="564"/>
                  </a:cubicBezTo>
                  <a:cubicBezTo>
                    <a:pt x="1529" y="537"/>
                    <a:pt x="1529" y="537"/>
                    <a:pt x="1529" y="537"/>
                  </a:cubicBezTo>
                  <a:cubicBezTo>
                    <a:pt x="1513" y="581"/>
                    <a:pt x="1513" y="581"/>
                    <a:pt x="1513" y="581"/>
                  </a:cubicBezTo>
                  <a:cubicBezTo>
                    <a:pt x="1513" y="581"/>
                    <a:pt x="1541" y="591"/>
                    <a:pt x="1541" y="612"/>
                  </a:cubicBezTo>
                  <a:cubicBezTo>
                    <a:pt x="1541" y="633"/>
                    <a:pt x="1523" y="679"/>
                    <a:pt x="1501" y="688"/>
                  </a:cubicBezTo>
                  <a:cubicBezTo>
                    <a:pt x="1480" y="698"/>
                    <a:pt x="1471" y="658"/>
                    <a:pt x="1471" y="658"/>
                  </a:cubicBezTo>
                  <a:cubicBezTo>
                    <a:pt x="1376" y="667"/>
                    <a:pt x="1376" y="667"/>
                    <a:pt x="1376" y="667"/>
                  </a:cubicBezTo>
                  <a:cubicBezTo>
                    <a:pt x="1376" y="667"/>
                    <a:pt x="1305" y="587"/>
                    <a:pt x="1287" y="581"/>
                  </a:cubicBezTo>
                  <a:cubicBezTo>
                    <a:pt x="1269" y="575"/>
                    <a:pt x="1232" y="600"/>
                    <a:pt x="1192" y="591"/>
                  </a:cubicBezTo>
                  <a:cubicBezTo>
                    <a:pt x="1152" y="581"/>
                    <a:pt x="1159" y="526"/>
                    <a:pt x="1159" y="526"/>
                  </a:cubicBezTo>
                  <a:cubicBezTo>
                    <a:pt x="1088" y="535"/>
                    <a:pt x="1088" y="535"/>
                    <a:pt x="1088" y="535"/>
                  </a:cubicBezTo>
                  <a:cubicBezTo>
                    <a:pt x="1027" y="529"/>
                    <a:pt x="1027" y="529"/>
                    <a:pt x="1027" y="529"/>
                  </a:cubicBezTo>
                  <a:cubicBezTo>
                    <a:pt x="1027" y="529"/>
                    <a:pt x="1024" y="471"/>
                    <a:pt x="1015" y="453"/>
                  </a:cubicBezTo>
                  <a:cubicBezTo>
                    <a:pt x="1005" y="434"/>
                    <a:pt x="957" y="453"/>
                    <a:pt x="950" y="419"/>
                  </a:cubicBezTo>
                  <a:cubicBezTo>
                    <a:pt x="944" y="386"/>
                    <a:pt x="987" y="306"/>
                    <a:pt x="975" y="272"/>
                  </a:cubicBezTo>
                  <a:cubicBezTo>
                    <a:pt x="963" y="239"/>
                    <a:pt x="898" y="220"/>
                    <a:pt x="898" y="220"/>
                  </a:cubicBezTo>
                  <a:cubicBezTo>
                    <a:pt x="696" y="211"/>
                    <a:pt x="696" y="211"/>
                    <a:pt x="696" y="211"/>
                  </a:cubicBezTo>
                  <a:cubicBezTo>
                    <a:pt x="690" y="21"/>
                    <a:pt x="690" y="21"/>
                    <a:pt x="690" y="21"/>
                  </a:cubicBezTo>
                  <a:cubicBezTo>
                    <a:pt x="531" y="0"/>
                    <a:pt x="531" y="0"/>
                    <a:pt x="531" y="0"/>
                  </a:cubicBezTo>
                  <a:cubicBezTo>
                    <a:pt x="501" y="24"/>
                    <a:pt x="501" y="24"/>
                    <a:pt x="501" y="24"/>
                  </a:cubicBezTo>
                  <a:cubicBezTo>
                    <a:pt x="497" y="95"/>
                    <a:pt x="497" y="95"/>
                    <a:pt x="497" y="95"/>
                  </a:cubicBezTo>
                  <a:cubicBezTo>
                    <a:pt x="360" y="43"/>
                    <a:pt x="360" y="43"/>
                    <a:pt x="360" y="43"/>
                  </a:cubicBezTo>
                  <a:cubicBezTo>
                    <a:pt x="253" y="171"/>
                    <a:pt x="253" y="171"/>
                    <a:pt x="253" y="171"/>
                  </a:cubicBezTo>
                  <a:cubicBezTo>
                    <a:pt x="50" y="261"/>
                    <a:pt x="50" y="261"/>
                    <a:pt x="50" y="261"/>
                  </a:cubicBezTo>
                  <a:cubicBezTo>
                    <a:pt x="77" y="347"/>
                    <a:pt x="77" y="347"/>
                    <a:pt x="77" y="347"/>
                  </a:cubicBezTo>
                  <a:cubicBezTo>
                    <a:pt x="225" y="460"/>
                    <a:pt x="225" y="460"/>
                    <a:pt x="225" y="460"/>
                  </a:cubicBezTo>
                  <a:cubicBezTo>
                    <a:pt x="228" y="517"/>
                    <a:pt x="228" y="517"/>
                    <a:pt x="228" y="517"/>
                  </a:cubicBezTo>
                  <a:cubicBezTo>
                    <a:pt x="173" y="577"/>
                    <a:pt x="173" y="577"/>
                    <a:pt x="173" y="577"/>
                  </a:cubicBezTo>
                  <a:cubicBezTo>
                    <a:pt x="173" y="577"/>
                    <a:pt x="233" y="610"/>
                    <a:pt x="231" y="632"/>
                  </a:cubicBezTo>
                  <a:cubicBezTo>
                    <a:pt x="228" y="654"/>
                    <a:pt x="132" y="616"/>
                    <a:pt x="113" y="635"/>
                  </a:cubicBezTo>
                  <a:cubicBezTo>
                    <a:pt x="94" y="654"/>
                    <a:pt x="72" y="728"/>
                    <a:pt x="72" y="728"/>
                  </a:cubicBezTo>
                  <a:cubicBezTo>
                    <a:pt x="113" y="758"/>
                    <a:pt x="113" y="758"/>
                    <a:pt x="113" y="758"/>
                  </a:cubicBezTo>
                  <a:cubicBezTo>
                    <a:pt x="116" y="805"/>
                    <a:pt x="116" y="805"/>
                    <a:pt x="116" y="805"/>
                  </a:cubicBezTo>
                  <a:cubicBezTo>
                    <a:pt x="61" y="816"/>
                    <a:pt x="61" y="816"/>
                    <a:pt x="61" y="816"/>
                  </a:cubicBezTo>
                  <a:cubicBezTo>
                    <a:pt x="0" y="999"/>
                    <a:pt x="0" y="999"/>
                    <a:pt x="0" y="999"/>
                  </a:cubicBezTo>
                  <a:cubicBezTo>
                    <a:pt x="61" y="1005"/>
                    <a:pt x="61" y="1005"/>
                    <a:pt x="61" y="1005"/>
                  </a:cubicBezTo>
                  <a:cubicBezTo>
                    <a:pt x="72" y="975"/>
                    <a:pt x="72" y="975"/>
                    <a:pt x="72" y="975"/>
                  </a:cubicBezTo>
                  <a:cubicBezTo>
                    <a:pt x="124" y="967"/>
                    <a:pt x="124" y="967"/>
                    <a:pt x="124" y="967"/>
                  </a:cubicBezTo>
                  <a:cubicBezTo>
                    <a:pt x="148" y="1010"/>
                    <a:pt x="148" y="1010"/>
                    <a:pt x="148" y="1010"/>
                  </a:cubicBezTo>
                  <a:cubicBezTo>
                    <a:pt x="113" y="1016"/>
                    <a:pt x="113" y="1016"/>
                    <a:pt x="113" y="1016"/>
                  </a:cubicBezTo>
                  <a:cubicBezTo>
                    <a:pt x="113" y="1016"/>
                    <a:pt x="116" y="1038"/>
                    <a:pt x="118" y="1057"/>
                  </a:cubicBezTo>
                  <a:cubicBezTo>
                    <a:pt x="120" y="1066"/>
                    <a:pt x="118" y="1100"/>
                    <a:pt x="117" y="1133"/>
                  </a:cubicBezTo>
                  <a:cubicBezTo>
                    <a:pt x="134" y="1107"/>
                    <a:pt x="151" y="1084"/>
                    <a:pt x="170" y="1084"/>
                  </a:cubicBezTo>
                  <a:cubicBezTo>
                    <a:pt x="212" y="1084"/>
                    <a:pt x="290" y="1162"/>
                    <a:pt x="290" y="1162"/>
                  </a:cubicBezTo>
                  <a:cubicBezTo>
                    <a:pt x="344" y="1246"/>
                    <a:pt x="344" y="1246"/>
                    <a:pt x="344" y="1246"/>
                  </a:cubicBezTo>
                  <a:cubicBezTo>
                    <a:pt x="452" y="1310"/>
                    <a:pt x="452" y="1310"/>
                    <a:pt x="452" y="1310"/>
                  </a:cubicBezTo>
                  <a:cubicBezTo>
                    <a:pt x="482" y="1408"/>
                    <a:pt x="482" y="1408"/>
                    <a:pt x="482" y="1408"/>
                  </a:cubicBezTo>
                  <a:cubicBezTo>
                    <a:pt x="482" y="1408"/>
                    <a:pt x="626" y="1396"/>
                    <a:pt x="632" y="1378"/>
                  </a:cubicBezTo>
                  <a:cubicBezTo>
                    <a:pt x="638" y="1360"/>
                    <a:pt x="536" y="1336"/>
                    <a:pt x="542" y="1306"/>
                  </a:cubicBezTo>
                  <a:cubicBezTo>
                    <a:pt x="548" y="1276"/>
                    <a:pt x="608" y="1258"/>
                    <a:pt x="656" y="1258"/>
                  </a:cubicBezTo>
                  <a:cubicBezTo>
                    <a:pt x="704" y="1258"/>
                    <a:pt x="806" y="1282"/>
                    <a:pt x="806" y="1282"/>
                  </a:cubicBezTo>
                  <a:cubicBezTo>
                    <a:pt x="812" y="1348"/>
                    <a:pt x="812" y="1348"/>
                    <a:pt x="812" y="1348"/>
                  </a:cubicBezTo>
                  <a:cubicBezTo>
                    <a:pt x="812" y="1348"/>
                    <a:pt x="860" y="1384"/>
                    <a:pt x="878" y="1354"/>
                  </a:cubicBezTo>
                  <a:cubicBezTo>
                    <a:pt x="896" y="1324"/>
                    <a:pt x="872" y="1228"/>
                    <a:pt x="890" y="1168"/>
                  </a:cubicBezTo>
                  <a:cubicBezTo>
                    <a:pt x="908" y="1108"/>
                    <a:pt x="986" y="1144"/>
                    <a:pt x="986" y="1144"/>
                  </a:cubicBezTo>
                  <a:cubicBezTo>
                    <a:pt x="1046" y="1252"/>
                    <a:pt x="1046" y="1252"/>
                    <a:pt x="1046" y="1252"/>
                  </a:cubicBezTo>
                  <a:cubicBezTo>
                    <a:pt x="1106" y="1234"/>
                    <a:pt x="1106" y="1234"/>
                    <a:pt x="1106" y="1234"/>
                  </a:cubicBezTo>
                  <a:cubicBezTo>
                    <a:pt x="1250" y="1234"/>
                    <a:pt x="1250" y="1234"/>
                    <a:pt x="1250" y="1234"/>
                  </a:cubicBezTo>
                  <a:cubicBezTo>
                    <a:pt x="1296" y="1206"/>
                    <a:pt x="1296" y="1206"/>
                    <a:pt x="1296" y="1206"/>
                  </a:cubicBezTo>
                  <a:lnTo>
                    <a:pt x="1296" y="1109"/>
                  </a:lnTo>
                  <a:close/>
                </a:path>
              </a:pathLst>
            </a:custGeom>
            <a:solidFill>
              <a:schemeClr val="folHlink"/>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198" name="Freeform 14">
              <a:extLst>
                <a:ext uri="{FF2B5EF4-FFF2-40B4-BE49-F238E27FC236}">
                  <a16:creationId xmlns:a16="http://schemas.microsoft.com/office/drawing/2014/main" id="{12E24F64-C2C5-CF45-9882-361519C222A4}"/>
                </a:ext>
              </a:extLst>
            </p:cNvPr>
            <p:cNvSpPr>
              <a:spLocks/>
            </p:cNvSpPr>
            <p:nvPr/>
          </p:nvSpPr>
          <p:spPr bwMode="auto">
            <a:xfrm>
              <a:off x="2426" y="1521"/>
              <a:ext cx="143" cy="125"/>
            </a:xfrm>
            <a:custGeom>
              <a:avLst/>
              <a:gdLst>
                <a:gd name="T0" fmla="*/ 95 w 377"/>
                <a:gd name="T1" fmla="*/ 18 h 330"/>
                <a:gd name="T2" fmla="*/ 21 w 377"/>
                <a:gd name="T3" fmla="*/ 78 h 330"/>
                <a:gd name="T4" fmla="*/ 21 w 377"/>
                <a:gd name="T5" fmla="*/ 119 h 330"/>
                <a:gd name="T6" fmla="*/ 8 w 377"/>
                <a:gd name="T7" fmla="*/ 123 h 330"/>
                <a:gd name="T8" fmla="*/ 4 w 377"/>
                <a:gd name="T9" fmla="*/ 156 h 330"/>
                <a:gd name="T10" fmla="*/ 21 w 377"/>
                <a:gd name="T11" fmla="*/ 172 h 330"/>
                <a:gd name="T12" fmla="*/ 0 w 377"/>
                <a:gd name="T13" fmla="*/ 209 h 330"/>
                <a:gd name="T14" fmla="*/ 2 w 377"/>
                <a:gd name="T15" fmla="*/ 289 h 330"/>
                <a:gd name="T16" fmla="*/ 115 w 377"/>
                <a:gd name="T17" fmla="*/ 266 h 330"/>
                <a:gd name="T18" fmla="*/ 183 w 377"/>
                <a:gd name="T19" fmla="*/ 283 h 330"/>
                <a:gd name="T20" fmla="*/ 211 w 377"/>
                <a:gd name="T21" fmla="*/ 254 h 330"/>
                <a:gd name="T22" fmla="*/ 310 w 377"/>
                <a:gd name="T23" fmla="*/ 281 h 330"/>
                <a:gd name="T24" fmla="*/ 318 w 377"/>
                <a:gd name="T25" fmla="*/ 330 h 330"/>
                <a:gd name="T26" fmla="*/ 373 w 377"/>
                <a:gd name="T27" fmla="*/ 273 h 330"/>
                <a:gd name="T28" fmla="*/ 377 w 377"/>
                <a:gd name="T29" fmla="*/ 203 h 330"/>
                <a:gd name="T30" fmla="*/ 314 w 377"/>
                <a:gd name="T31" fmla="*/ 191 h 330"/>
                <a:gd name="T32" fmla="*/ 328 w 377"/>
                <a:gd name="T33" fmla="*/ 127 h 330"/>
                <a:gd name="T34" fmla="*/ 295 w 377"/>
                <a:gd name="T35" fmla="*/ 119 h 330"/>
                <a:gd name="T36" fmla="*/ 258 w 377"/>
                <a:gd name="T37" fmla="*/ 78 h 330"/>
                <a:gd name="T38" fmla="*/ 226 w 377"/>
                <a:gd name="T39" fmla="*/ 63 h 330"/>
                <a:gd name="T40" fmla="*/ 228 w 377"/>
                <a:gd name="T41" fmla="*/ 18 h 330"/>
                <a:gd name="T42" fmla="*/ 205 w 377"/>
                <a:gd name="T43" fmla="*/ 2 h 330"/>
                <a:gd name="T44" fmla="*/ 185 w 377"/>
                <a:gd name="T45" fmla="*/ 55 h 330"/>
                <a:gd name="T46" fmla="*/ 156 w 377"/>
                <a:gd name="T47" fmla="*/ 33 h 330"/>
                <a:gd name="T48" fmla="*/ 95 w 377"/>
                <a:gd name="T49" fmla="*/ 18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7" h="330">
                  <a:moveTo>
                    <a:pt x="95" y="18"/>
                  </a:moveTo>
                  <a:cubicBezTo>
                    <a:pt x="21" y="78"/>
                    <a:pt x="21" y="78"/>
                    <a:pt x="21" y="78"/>
                  </a:cubicBezTo>
                  <a:cubicBezTo>
                    <a:pt x="21" y="119"/>
                    <a:pt x="21" y="119"/>
                    <a:pt x="21" y="119"/>
                  </a:cubicBezTo>
                  <a:cubicBezTo>
                    <a:pt x="8" y="123"/>
                    <a:pt x="8" y="123"/>
                    <a:pt x="8" y="123"/>
                  </a:cubicBezTo>
                  <a:cubicBezTo>
                    <a:pt x="4" y="156"/>
                    <a:pt x="4" y="156"/>
                    <a:pt x="4" y="156"/>
                  </a:cubicBezTo>
                  <a:cubicBezTo>
                    <a:pt x="21" y="172"/>
                    <a:pt x="21" y="172"/>
                    <a:pt x="21" y="172"/>
                  </a:cubicBezTo>
                  <a:cubicBezTo>
                    <a:pt x="0" y="209"/>
                    <a:pt x="0" y="209"/>
                    <a:pt x="0" y="209"/>
                  </a:cubicBezTo>
                  <a:cubicBezTo>
                    <a:pt x="2" y="289"/>
                    <a:pt x="2" y="289"/>
                    <a:pt x="2" y="289"/>
                  </a:cubicBezTo>
                  <a:cubicBezTo>
                    <a:pt x="115" y="266"/>
                    <a:pt x="115" y="266"/>
                    <a:pt x="115" y="266"/>
                  </a:cubicBezTo>
                  <a:cubicBezTo>
                    <a:pt x="183" y="283"/>
                    <a:pt x="183" y="283"/>
                    <a:pt x="183" y="283"/>
                  </a:cubicBezTo>
                  <a:cubicBezTo>
                    <a:pt x="211" y="254"/>
                    <a:pt x="211" y="254"/>
                    <a:pt x="211" y="254"/>
                  </a:cubicBezTo>
                  <a:cubicBezTo>
                    <a:pt x="310" y="281"/>
                    <a:pt x="310" y="281"/>
                    <a:pt x="310" y="281"/>
                  </a:cubicBezTo>
                  <a:cubicBezTo>
                    <a:pt x="318" y="330"/>
                    <a:pt x="318" y="330"/>
                    <a:pt x="318" y="330"/>
                  </a:cubicBezTo>
                  <a:cubicBezTo>
                    <a:pt x="373" y="273"/>
                    <a:pt x="373" y="273"/>
                    <a:pt x="373" y="273"/>
                  </a:cubicBezTo>
                  <a:cubicBezTo>
                    <a:pt x="377" y="203"/>
                    <a:pt x="377" y="203"/>
                    <a:pt x="377" y="203"/>
                  </a:cubicBezTo>
                  <a:cubicBezTo>
                    <a:pt x="377" y="203"/>
                    <a:pt x="326" y="207"/>
                    <a:pt x="314" y="191"/>
                  </a:cubicBezTo>
                  <a:cubicBezTo>
                    <a:pt x="303" y="176"/>
                    <a:pt x="328" y="127"/>
                    <a:pt x="328" y="127"/>
                  </a:cubicBezTo>
                  <a:cubicBezTo>
                    <a:pt x="295" y="119"/>
                    <a:pt x="295" y="119"/>
                    <a:pt x="295" y="119"/>
                  </a:cubicBezTo>
                  <a:cubicBezTo>
                    <a:pt x="258" y="78"/>
                    <a:pt x="258" y="78"/>
                    <a:pt x="258" y="78"/>
                  </a:cubicBezTo>
                  <a:cubicBezTo>
                    <a:pt x="226" y="63"/>
                    <a:pt x="226" y="63"/>
                    <a:pt x="226" y="63"/>
                  </a:cubicBezTo>
                  <a:cubicBezTo>
                    <a:pt x="228" y="18"/>
                    <a:pt x="228" y="18"/>
                    <a:pt x="228" y="18"/>
                  </a:cubicBezTo>
                  <a:cubicBezTo>
                    <a:pt x="228" y="18"/>
                    <a:pt x="215" y="0"/>
                    <a:pt x="205" y="2"/>
                  </a:cubicBezTo>
                  <a:cubicBezTo>
                    <a:pt x="195" y="4"/>
                    <a:pt x="185" y="55"/>
                    <a:pt x="185" y="55"/>
                  </a:cubicBezTo>
                  <a:cubicBezTo>
                    <a:pt x="156" y="33"/>
                    <a:pt x="156" y="33"/>
                    <a:pt x="156" y="33"/>
                  </a:cubicBezTo>
                  <a:lnTo>
                    <a:pt x="95" y="18"/>
                  </a:lnTo>
                  <a:close/>
                </a:path>
              </a:pathLst>
            </a:custGeom>
            <a:solidFill>
              <a:srgbClr val="CEDFEE"/>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199" name="Freeform 15">
              <a:extLst>
                <a:ext uri="{FF2B5EF4-FFF2-40B4-BE49-F238E27FC236}">
                  <a16:creationId xmlns:a16="http://schemas.microsoft.com/office/drawing/2014/main" id="{4B17AA52-6999-2C47-B0C5-61FEC5B9B75F}"/>
                </a:ext>
              </a:extLst>
            </p:cNvPr>
            <p:cNvSpPr>
              <a:spLocks/>
            </p:cNvSpPr>
            <p:nvPr/>
          </p:nvSpPr>
          <p:spPr bwMode="auto">
            <a:xfrm>
              <a:off x="2156" y="1902"/>
              <a:ext cx="742" cy="588"/>
            </a:xfrm>
            <a:custGeom>
              <a:avLst/>
              <a:gdLst>
                <a:gd name="T0" fmla="*/ 1658 w 1958"/>
                <a:gd name="T1" fmla="*/ 58 h 1551"/>
                <a:gd name="T2" fmla="*/ 1500 w 1958"/>
                <a:gd name="T3" fmla="*/ 136 h 1551"/>
                <a:gd name="T4" fmla="*/ 1317 w 1958"/>
                <a:gd name="T5" fmla="*/ 181 h 1551"/>
                <a:gd name="T6" fmla="*/ 1032 w 1958"/>
                <a:gd name="T7" fmla="*/ 296 h 1551"/>
                <a:gd name="T8" fmla="*/ 879 w 1958"/>
                <a:gd name="T9" fmla="*/ 220 h 1551"/>
                <a:gd name="T10" fmla="*/ 804 w 1958"/>
                <a:gd name="T11" fmla="*/ 222 h 1551"/>
                <a:gd name="T12" fmla="*/ 654 w 1958"/>
                <a:gd name="T13" fmla="*/ 44 h 1551"/>
                <a:gd name="T14" fmla="*/ 438 w 1958"/>
                <a:gd name="T15" fmla="*/ 72 h 1551"/>
                <a:gd name="T16" fmla="*/ 199 w 1958"/>
                <a:gd name="T17" fmla="*/ 132 h 1551"/>
                <a:gd name="T18" fmla="*/ 178 w 1958"/>
                <a:gd name="T19" fmla="*/ 197 h 1551"/>
                <a:gd name="T20" fmla="*/ 160 w 1958"/>
                <a:gd name="T21" fmla="*/ 315 h 1551"/>
                <a:gd name="T22" fmla="*/ 146 w 1958"/>
                <a:gd name="T23" fmla="*/ 375 h 1551"/>
                <a:gd name="T24" fmla="*/ 204 w 1958"/>
                <a:gd name="T25" fmla="*/ 586 h 1551"/>
                <a:gd name="T26" fmla="*/ 375 w 1958"/>
                <a:gd name="T27" fmla="*/ 647 h 1551"/>
                <a:gd name="T28" fmla="*/ 468 w 1958"/>
                <a:gd name="T29" fmla="*/ 765 h 1551"/>
                <a:gd name="T30" fmla="*/ 215 w 1958"/>
                <a:gd name="T31" fmla="*/ 930 h 1551"/>
                <a:gd name="T32" fmla="*/ 243 w 1958"/>
                <a:gd name="T33" fmla="*/ 1064 h 1551"/>
                <a:gd name="T34" fmla="*/ 164 w 1958"/>
                <a:gd name="T35" fmla="*/ 1108 h 1551"/>
                <a:gd name="T36" fmla="*/ 67 w 1958"/>
                <a:gd name="T37" fmla="*/ 1057 h 1551"/>
                <a:gd name="T38" fmla="*/ 0 w 1958"/>
                <a:gd name="T39" fmla="*/ 1261 h 1551"/>
                <a:gd name="T40" fmla="*/ 50 w 1958"/>
                <a:gd name="T41" fmla="*/ 1289 h 1551"/>
                <a:gd name="T42" fmla="*/ 128 w 1958"/>
                <a:gd name="T43" fmla="*/ 1366 h 1551"/>
                <a:gd name="T44" fmla="*/ 142 w 1958"/>
                <a:gd name="T45" fmla="*/ 1384 h 1551"/>
                <a:gd name="T46" fmla="*/ 356 w 1958"/>
                <a:gd name="T47" fmla="*/ 1359 h 1551"/>
                <a:gd name="T48" fmla="*/ 565 w 1958"/>
                <a:gd name="T49" fmla="*/ 1269 h 1551"/>
                <a:gd name="T50" fmla="*/ 825 w 1958"/>
                <a:gd name="T51" fmla="*/ 1161 h 1551"/>
                <a:gd name="T52" fmla="*/ 1085 w 1958"/>
                <a:gd name="T53" fmla="*/ 954 h 1551"/>
                <a:gd name="T54" fmla="*/ 1457 w 1958"/>
                <a:gd name="T55" fmla="*/ 777 h 1551"/>
                <a:gd name="T56" fmla="*/ 1464 w 1958"/>
                <a:gd name="T57" fmla="*/ 669 h 1551"/>
                <a:gd name="T58" fmla="*/ 1657 w 1958"/>
                <a:gd name="T59" fmla="*/ 738 h 1551"/>
                <a:gd name="T60" fmla="*/ 1781 w 1958"/>
                <a:gd name="T61" fmla="*/ 818 h 1551"/>
                <a:gd name="T62" fmla="*/ 1924 w 1958"/>
                <a:gd name="T63" fmla="*/ 478 h 1551"/>
                <a:gd name="T64" fmla="*/ 1736 w 1958"/>
                <a:gd name="T65" fmla="*/ 117 h 1551"/>
                <a:gd name="T66" fmla="*/ 1683 w 1958"/>
                <a:gd name="T67" fmla="*/ 81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58" h="1551">
                  <a:moveTo>
                    <a:pt x="1683" y="81"/>
                  </a:moveTo>
                  <a:cubicBezTo>
                    <a:pt x="1658" y="58"/>
                    <a:pt x="1658" y="58"/>
                    <a:pt x="1658" y="58"/>
                  </a:cubicBezTo>
                  <a:cubicBezTo>
                    <a:pt x="1526" y="106"/>
                    <a:pt x="1526" y="106"/>
                    <a:pt x="1526" y="106"/>
                  </a:cubicBezTo>
                  <a:cubicBezTo>
                    <a:pt x="1500" y="136"/>
                    <a:pt x="1500" y="136"/>
                    <a:pt x="1500" y="136"/>
                  </a:cubicBezTo>
                  <a:cubicBezTo>
                    <a:pt x="1500" y="136"/>
                    <a:pt x="1451" y="104"/>
                    <a:pt x="1398" y="104"/>
                  </a:cubicBezTo>
                  <a:cubicBezTo>
                    <a:pt x="1345" y="104"/>
                    <a:pt x="1317" y="181"/>
                    <a:pt x="1317" y="181"/>
                  </a:cubicBezTo>
                  <a:cubicBezTo>
                    <a:pt x="1287" y="278"/>
                    <a:pt x="1287" y="278"/>
                    <a:pt x="1287" y="278"/>
                  </a:cubicBezTo>
                  <a:cubicBezTo>
                    <a:pt x="1032" y="296"/>
                    <a:pt x="1032" y="296"/>
                    <a:pt x="1032" y="296"/>
                  </a:cubicBezTo>
                  <a:cubicBezTo>
                    <a:pt x="927" y="227"/>
                    <a:pt x="927" y="227"/>
                    <a:pt x="927" y="227"/>
                  </a:cubicBezTo>
                  <a:cubicBezTo>
                    <a:pt x="879" y="220"/>
                    <a:pt x="879" y="220"/>
                    <a:pt x="879" y="220"/>
                  </a:cubicBezTo>
                  <a:cubicBezTo>
                    <a:pt x="879" y="220"/>
                    <a:pt x="844" y="299"/>
                    <a:pt x="800" y="273"/>
                  </a:cubicBezTo>
                  <a:cubicBezTo>
                    <a:pt x="756" y="248"/>
                    <a:pt x="804" y="222"/>
                    <a:pt x="804" y="222"/>
                  </a:cubicBezTo>
                  <a:cubicBezTo>
                    <a:pt x="770" y="72"/>
                    <a:pt x="770" y="72"/>
                    <a:pt x="770" y="72"/>
                  </a:cubicBezTo>
                  <a:cubicBezTo>
                    <a:pt x="654" y="44"/>
                    <a:pt x="654" y="44"/>
                    <a:pt x="654" y="44"/>
                  </a:cubicBezTo>
                  <a:cubicBezTo>
                    <a:pt x="563" y="0"/>
                    <a:pt x="563" y="0"/>
                    <a:pt x="563" y="0"/>
                  </a:cubicBezTo>
                  <a:cubicBezTo>
                    <a:pt x="438" y="72"/>
                    <a:pt x="438" y="72"/>
                    <a:pt x="438" y="72"/>
                  </a:cubicBezTo>
                  <a:cubicBezTo>
                    <a:pt x="438" y="72"/>
                    <a:pt x="336" y="72"/>
                    <a:pt x="299" y="85"/>
                  </a:cubicBezTo>
                  <a:cubicBezTo>
                    <a:pt x="262" y="99"/>
                    <a:pt x="199" y="132"/>
                    <a:pt x="199" y="132"/>
                  </a:cubicBezTo>
                  <a:cubicBezTo>
                    <a:pt x="171" y="160"/>
                    <a:pt x="171" y="160"/>
                    <a:pt x="171" y="160"/>
                  </a:cubicBezTo>
                  <a:cubicBezTo>
                    <a:pt x="178" y="197"/>
                    <a:pt x="178" y="197"/>
                    <a:pt x="178" y="197"/>
                  </a:cubicBezTo>
                  <a:cubicBezTo>
                    <a:pt x="153" y="220"/>
                    <a:pt x="153" y="220"/>
                    <a:pt x="153" y="220"/>
                  </a:cubicBezTo>
                  <a:cubicBezTo>
                    <a:pt x="160" y="315"/>
                    <a:pt x="160" y="315"/>
                    <a:pt x="160" y="315"/>
                  </a:cubicBezTo>
                  <a:cubicBezTo>
                    <a:pt x="185" y="352"/>
                    <a:pt x="185" y="352"/>
                    <a:pt x="185" y="352"/>
                  </a:cubicBezTo>
                  <a:cubicBezTo>
                    <a:pt x="146" y="375"/>
                    <a:pt x="146" y="375"/>
                    <a:pt x="146" y="375"/>
                  </a:cubicBezTo>
                  <a:cubicBezTo>
                    <a:pt x="176" y="450"/>
                    <a:pt x="176" y="450"/>
                    <a:pt x="176" y="450"/>
                  </a:cubicBezTo>
                  <a:cubicBezTo>
                    <a:pt x="204" y="586"/>
                    <a:pt x="204" y="586"/>
                    <a:pt x="204" y="586"/>
                  </a:cubicBezTo>
                  <a:cubicBezTo>
                    <a:pt x="378" y="619"/>
                    <a:pt x="378" y="619"/>
                    <a:pt x="378" y="619"/>
                  </a:cubicBezTo>
                  <a:cubicBezTo>
                    <a:pt x="375" y="647"/>
                    <a:pt x="375" y="647"/>
                    <a:pt x="375" y="647"/>
                  </a:cubicBezTo>
                  <a:cubicBezTo>
                    <a:pt x="443" y="695"/>
                    <a:pt x="443" y="695"/>
                    <a:pt x="443" y="695"/>
                  </a:cubicBezTo>
                  <a:cubicBezTo>
                    <a:pt x="468" y="765"/>
                    <a:pt x="468" y="765"/>
                    <a:pt x="468" y="765"/>
                  </a:cubicBezTo>
                  <a:cubicBezTo>
                    <a:pt x="269" y="867"/>
                    <a:pt x="269" y="867"/>
                    <a:pt x="269" y="867"/>
                  </a:cubicBezTo>
                  <a:cubicBezTo>
                    <a:pt x="269" y="867"/>
                    <a:pt x="218" y="881"/>
                    <a:pt x="215" y="930"/>
                  </a:cubicBezTo>
                  <a:cubicBezTo>
                    <a:pt x="213" y="978"/>
                    <a:pt x="255" y="969"/>
                    <a:pt x="264" y="1011"/>
                  </a:cubicBezTo>
                  <a:cubicBezTo>
                    <a:pt x="273" y="1052"/>
                    <a:pt x="243" y="1064"/>
                    <a:pt x="243" y="1064"/>
                  </a:cubicBezTo>
                  <a:cubicBezTo>
                    <a:pt x="169" y="1064"/>
                    <a:pt x="169" y="1064"/>
                    <a:pt x="169" y="1064"/>
                  </a:cubicBezTo>
                  <a:cubicBezTo>
                    <a:pt x="164" y="1108"/>
                    <a:pt x="164" y="1108"/>
                    <a:pt x="164" y="1108"/>
                  </a:cubicBezTo>
                  <a:cubicBezTo>
                    <a:pt x="106" y="1122"/>
                    <a:pt x="106" y="1122"/>
                    <a:pt x="106" y="1122"/>
                  </a:cubicBezTo>
                  <a:cubicBezTo>
                    <a:pt x="67" y="1057"/>
                    <a:pt x="67" y="1057"/>
                    <a:pt x="67" y="1057"/>
                  </a:cubicBezTo>
                  <a:cubicBezTo>
                    <a:pt x="0" y="1164"/>
                    <a:pt x="0" y="1164"/>
                    <a:pt x="0" y="1164"/>
                  </a:cubicBezTo>
                  <a:cubicBezTo>
                    <a:pt x="0" y="1261"/>
                    <a:pt x="0" y="1261"/>
                    <a:pt x="0" y="1261"/>
                  </a:cubicBezTo>
                  <a:cubicBezTo>
                    <a:pt x="2" y="1259"/>
                    <a:pt x="2" y="1259"/>
                    <a:pt x="2" y="1259"/>
                  </a:cubicBezTo>
                  <a:cubicBezTo>
                    <a:pt x="50" y="1289"/>
                    <a:pt x="50" y="1289"/>
                    <a:pt x="50" y="1289"/>
                  </a:cubicBezTo>
                  <a:cubicBezTo>
                    <a:pt x="74" y="1337"/>
                    <a:pt x="74" y="1337"/>
                    <a:pt x="74" y="1337"/>
                  </a:cubicBezTo>
                  <a:cubicBezTo>
                    <a:pt x="128" y="1366"/>
                    <a:pt x="128" y="1366"/>
                    <a:pt x="128" y="1366"/>
                  </a:cubicBezTo>
                  <a:cubicBezTo>
                    <a:pt x="132" y="1386"/>
                    <a:pt x="132" y="1386"/>
                    <a:pt x="132" y="1386"/>
                  </a:cubicBezTo>
                  <a:cubicBezTo>
                    <a:pt x="135" y="1386"/>
                    <a:pt x="139" y="1385"/>
                    <a:pt x="142" y="1384"/>
                  </a:cubicBezTo>
                  <a:cubicBezTo>
                    <a:pt x="162" y="1411"/>
                    <a:pt x="239" y="1551"/>
                    <a:pt x="264" y="1541"/>
                  </a:cubicBezTo>
                  <a:cubicBezTo>
                    <a:pt x="275" y="1536"/>
                    <a:pt x="321" y="1381"/>
                    <a:pt x="356" y="1359"/>
                  </a:cubicBezTo>
                  <a:cubicBezTo>
                    <a:pt x="388" y="1339"/>
                    <a:pt x="410" y="1253"/>
                    <a:pt x="486" y="1304"/>
                  </a:cubicBezTo>
                  <a:cubicBezTo>
                    <a:pt x="488" y="1305"/>
                    <a:pt x="551" y="1277"/>
                    <a:pt x="565" y="1269"/>
                  </a:cubicBezTo>
                  <a:cubicBezTo>
                    <a:pt x="620" y="1239"/>
                    <a:pt x="706" y="1334"/>
                    <a:pt x="722" y="1196"/>
                  </a:cubicBezTo>
                  <a:cubicBezTo>
                    <a:pt x="759" y="1205"/>
                    <a:pt x="799" y="1196"/>
                    <a:pt x="825" y="1161"/>
                  </a:cubicBezTo>
                  <a:cubicBezTo>
                    <a:pt x="873" y="1098"/>
                    <a:pt x="927" y="1061"/>
                    <a:pt x="929" y="1056"/>
                  </a:cubicBezTo>
                  <a:cubicBezTo>
                    <a:pt x="987" y="1131"/>
                    <a:pt x="1028" y="982"/>
                    <a:pt x="1085" y="954"/>
                  </a:cubicBezTo>
                  <a:cubicBezTo>
                    <a:pt x="1119" y="938"/>
                    <a:pt x="1237" y="885"/>
                    <a:pt x="1273" y="885"/>
                  </a:cubicBezTo>
                  <a:cubicBezTo>
                    <a:pt x="1335" y="885"/>
                    <a:pt x="1400" y="810"/>
                    <a:pt x="1457" y="777"/>
                  </a:cubicBezTo>
                  <a:cubicBezTo>
                    <a:pt x="1506" y="749"/>
                    <a:pt x="1553" y="783"/>
                    <a:pt x="1552" y="713"/>
                  </a:cubicBezTo>
                  <a:cubicBezTo>
                    <a:pt x="1551" y="707"/>
                    <a:pt x="1470" y="671"/>
                    <a:pt x="1464" y="669"/>
                  </a:cubicBezTo>
                  <a:cubicBezTo>
                    <a:pt x="1466" y="651"/>
                    <a:pt x="1479" y="617"/>
                    <a:pt x="1490" y="603"/>
                  </a:cubicBezTo>
                  <a:cubicBezTo>
                    <a:pt x="1545" y="632"/>
                    <a:pt x="1738" y="621"/>
                    <a:pt x="1657" y="738"/>
                  </a:cubicBezTo>
                  <a:cubicBezTo>
                    <a:pt x="1675" y="732"/>
                    <a:pt x="1697" y="734"/>
                    <a:pt x="1715" y="727"/>
                  </a:cubicBezTo>
                  <a:cubicBezTo>
                    <a:pt x="1649" y="813"/>
                    <a:pt x="1730" y="782"/>
                    <a:pt x="1781" y="818"/>
                  </a:cubicBezTo>
                  <a:cubicBezTo>
                    <a:pt x="1831" y="853"/>
                    <a:pt x="1831" y="757"/>
                    <a:pt x="1855" y="741"/>
                  </a:cubicBezTo>
                  <a:cubicBezTo>
                    <a:pt x="1905" y="708"/>
                    <a:pt x="1925" y="543"/>
                    <a:pt x="1924" y="478"/>
                  </a:cubicBezTo>
                  <a:cubicBezTo>
                    <a:pt x="1958" y="373"/>
                    <a:pt x="1883" y="327"/>
                    <a:pt x="1883" y="232"/>
                  </a:cubicBezTo>
                  <a:cubicBezTo>
                    <a:pt x="1883" y="137"/>
                    <a:pt x="1805" y="152"/>
                    <a:pt x="1736" y="117"/>
                  </a:cubicBezTo>
                  <a:cubicBezTo>
                    <a:pt x="1714" y="107"/>
                    <a:pt x="1715" y="89"/>
                    <a:pt x="1722" y="69"/>
                  </a:cubicBezTo>
                  <a:lnTo>
                    <a:pt x="1683" y="81"/>
                  </a:lnTo>
                  <a:close/>
                </a:path>
              </a:pathLst>
            </a:custGeom>
            <a:solidFill>
              <a:schemeClr val="folHlink"/>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200" name="Freeform 16">
              <a:extLst>
                <a:ext uri="{FF2B5EF4-FFF2-40B4-BE49-F238E27FC236}">
                  <a16:creationId xmlns:a16="http://schemas.microsoft.com/office/drawing/2014/main" id="{B54B880C-0D20-0F46-90ED-173669339ADA}"/>
                </a:ext>
              </a:extLst>
            </p:cNvPr>
            <p:cNvSpPr>
              <a:spLocks noEditPoints="1"/>
            </p:cNvSpPr>
            <p:nvPr/>
          </p:nvSpPr>
          <p:spPr bwMode="auto">
            <a:xfrm>
              <a:off x="1993" y="1185"/>
              <a:ext cx="826" cy="831"/>
            </a:xfrm>
            <a:custGeom>
              <a:avLst/>
              <a:gdLst>
                <a:gd name="T0" fmla="*/ 1702 w 2181"/>
                <a:gd name="T1" fmla="*/ 280 h 2192"/>
                <a:gd name="T2" fmla="*/ 1689 w 2181"/>
                <a:gd name="T3" fmla="*/ 130 h 2192"/>
                <a:gd name="T4" fmla="*/ 1557 w 2181"/>
                <a:gd name="T5" fmla="*/ 29 h 2192"/>
                <a:gd name="T6" fmla="*/ 1462 w 2181"/>
                <a:gd name="T7" fmla="*/ 77 h 2192"/>
                <a:gd name="T8" fmla="*/ 1356 w 2181"/>
                <a:gd name="T9" fmla="*/ 143 h 2192"/>
                <a:gd name="T10" fmla="*/ 1105 w 2181"/>
                <a:gd name="T11" fmla="*/ 344 h 2192"/>
                <a:gd name="T12" fmla="*/ 907 w 2181"/>
                <a:gd name="T13" fmla="*/ 352 h 2192"/>
                <a:gd name="T14" fmla="*/ 603 w 2181"/>
                <a:gd name="T15" fmla="*/ 254 h 2192"/>
                <a:gd name="T16" fmla="*/ 465 w 2181"/>
                <a:gd name="T17" fmla="*/ 227 h 2192"/>
                <a:gd name="T18" fmla="*/ 224 w 2181"/>
                <a:gd name="T19" fmla="*/ 341 h 2192"/>
                <a:gd name="T20" fmla="*/ 10 w 2181"/>
                <a:gd name="T21" fmla="*/ 465 h 2192"/>
                <a:gd name="T22" fmla="*/ 42 w 2181"/>
                <a:gd name="T23" fmla="*/ 529 h 2192"/>
                <a:gd name="T24" fmla="*/ 196 w 2181"/>
                <a:gd name="T25" fmla="*/ 559 h 2192"/>
                <a:gd name="T26" fmla="*/ 354 w 2181"/>
                <a:gd name="T27" fmla="*/ 611 h 2192"/>
                <a:gd name="T28" fmla="*/ 455 w 2181"/>
                <a:gd name="T29" fmla="*/ 705 h 2192"/>
                <a:gd name="T30" fmla="*/ 593 w 2181"/>
                <a:gd name="T31" fmla="*/ 714 h 2192"/>
                <a:gd name="T32" fmla="*/ 552 w 2181"/>
                <a:gd name="T33" fmla="*/ 1038 h 2192"/>
                <a:gd name="T34" fmla="*/ 646 w 2181"/>
                <a:gd name="T35" fmla="*/ 1066 h 2192"/>
                <a:gd name="T36" fmla="*/ 609 w 2181"/>
                <a:gd name="T37" fmla="*/ 1455 h 2192"/>
                <a:gd name="T38" fmla="*/ 769 w 2181"/>
                <a:gd name="T39" fmla="*/ 1537 h 2192"/>
                <a:gd name="T40" fmla="*/ 1054 w 2181"/>
                <a:gd name="T41" fmla="*/ 1622 h 2192"/>
                <a:gd name="T42" fmla="*/ 1192 w 2181"/>
                <a:gd name="T43" fmla="*/ 1691 h 2192"/>
                <a:gd name="T44" fmla="*/ 1202 w 2181"/>
                <a:gd name="T45" fmla="*/ 1866 h 2192"/>
                <a:gd name="T46" fmla="*/ 1201 w 2181"/>
                <a:gd name="T47" fmla="*/ 1965 h 2192"/>
                <a:gd name="T48" fmla="*/ 1231 w 2181"/>
                <a:gd name="T49" fmla="*/ 2166 h 2192"/>
                <a:gd name="T50" fmla="*/ 1358 w 2181"/>
                <a:gd name="T51" fmla="*/ 2120 h 2192"/>
                <a:gd name="T52" fmla="*/ 1718 w 2181"/>
                <a:gd name="T53" fmla="*/ 2171 h 2192"/>
                <a:gd name="T54" fmla="*/ 1829 w 2181"/>
                <a:gd name="T55" fmla="*/ 1997 h 2192"/>
                <a:gd name="T56" fmla="*/ 1957 w 2181"/>
                <a:gd name="T57" fmla="*/ 1999 h 2192"/>
                <a:gd name="T58" fmla="*/ 2114 w 2181"/>
                <a:gd name="T59" fmla="*/ 1974 h 2192"/>
                <a:gd name="T60" fmla="*/ 2169 w 2181"/>
                <a:gd name="T61" fmla="*/ 1879 h 2192"/>
                <a:gd name="T62" fmla="*/ 2100 w 2181"/>
                <a:gd name="T63" fmla="*/ 1440 h 2192"/>
                <a:gd name="T64" fmla="*/ 2004 w 2181"/>
                <a:gd name="T65" fmla="*/ 1160 h 2192"/>
                <a:gd name="T66" fmla="*/ 1716 w 2181"/>
                <a:gd name="T67" fmla="*/ 718 h 2192"/>
                <a:gd name="T68" fmla="*/ 1856 w 2181"/>
                <a:gd name="T69" fmla="*/ 467 h 2192"/>
                <a:gd name="T70" fmla="*/ 1797 w 2181"/>
                <a:gd name="T71" fmla="*/ 249 h 2192"/>
                <a:gd name="T72" fmla="*/ 1517 w 2181"/>
                <a:gd name="T73" fmla="*/ 1159 h 2192"/>
                <a:gd name="T74" fmla="*/ 1454 w 2181"/>
                <a:gd name="T75" fmla="*/ 1167 h 2192"/>
                <a:gd name="T76" fmla="*/ 1327 w 2181"/>
                <a:gd name="T77" fmla="*/ 1169 h 2192"/>
                <a:gd name="T78" fmla="*/ 1146 w 2181"/>
                <a:gd name="T79" fmla="*/ 1175 h 2192"/>
                <a:gd name="T80" fmla="*/ 1165 w 2181"/>
                <a:gd name="T81" fmla="*/ 1058 h 2192"/>
                <a:gd name="T82" fmla="*/ 1152 w 2181"/>
                <a:gd name="T83" fmla="*/ 1009 h 2192"/>
                <a:gd name="T84" fmla="*/ 1165 w 2181"/>
                <a:gd name="T85" fmla="*/ 964 h 2192"/>
                <a:gd name="T86" fmla="*/ 1300 w 2181"/>
                <a:gd name="T87" fmla="*/ 919 h 2192"/>
                <a:gd name="T88" fmla="*/ 1349 w 2181"/>
                <a:gd name="T89" fmla="*/ 888 h 2192"/>
                <a:gd name="T90" fmla="*/ 1370 w 2181"/>
                <a:gd name="T91" fmla="*/ 949 h 2192"/>
                <a:gd name="T92" fmla="*/ 1439 w 2181"/>
                <a:gd name="T93" fmla="*/ 1005 h 2192"/>
                <a:gd name="T94" fmla="*/ 1458 w 2181"/>
                <a:gd name="T95" fmla="*/ 1077 h 2192"/>
                <a:gd name="T96" fmla="*/ 1517 w 2181"/>
                <a:gd name="T97" fmla="*/ 1159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1" h="2192">
                  <a:moveTo>
                    <a:pt x="1808" y="286"/>
                  </a:moveTo>
                  <a:cubicBezTo>
                    <a:pt x="1702" y="280"/>
                    <a:pt x="1702" y="280"/>
                    <a:pt x="1702" y="280"/>
                  </a:cubicBezTo>
                  <a:cubicBezTo>
                    <a:pt x="1771" y="103"/>
                    <a:pt x="1771" y="103"/>
                    <a:pt x="1771" y="103"/>
                  </a:cubicBezTo>
                  <a:cubicBezTo>
                    <a:pt x="1689" y="130"/>
                    <a:pt x="1689" y="130"/>
                    <a:pt x="1689" y="130"/>
                  </a:cubicBezTo>
                  <a:cubicBezTo>
                    <a:pt x="1602" y="119"/>
                    <a:pt x="1602" y="119"/>
                    <a:pt x="1602" y="119"/>
                  </a:cubicBezTo>
                  <a:cubicBezTo>
                    <a:pt x="1557" y="29"/>
                    <a:pt x="1557" y="29"/>
                    <a:pt x="1557" y="29"/>
                  </a:cubicBezTo>
                  <a:cubicBezTo>
                    <a:pt x="1504" y="0"/>
                    <a:pt x="1504" y="0"/>
                    <a:pt x="1504" y="0"/>
                  </a:cubicBezTo>
                  <a:cubicBezTo>
                    <a:pt x="1504" y="0"/>
                    <a:pt x="1496" y="74"/>
                    <a:pt x="1462" y="77"/>
                  </a:cubicBezTo>
                  <a:cubicBezTo>
                    <a:pt x="1427" y="79"/>
                    <a:pt x="1422" y="138"/>
                    <a:pt x="1422" y="138"/>
                  </a:cubicBezTo>
                  <a:cubicBezTo>
                    <a:pt x="1356" y="143"/>
                    <a:pt x="1356" y="143"/>
                    <a:pt x="1356" y="143"/>
                  </a:cubicBezTo>
                  <a:cubicBezTo>
                    <a:pt x="1324" y="275"/>
                    <a:pt x="1324" y="275"/>
                    <a:pt x="1324" y="275"/>
                  </a:cubicBezTo>
                  <a:cubicBezTo>
                    <a:pt x="1105" y="344"/>
                    <a:pt x="1105" y="344"/>
                    <a:pt x="1105" y="344"/>
                  </a:cubicBezTo>
                  <a:cubicBezTo>
                    <a:pt x="1105" y="344"/>
                    <a:pt x="1086" y="376"/>
                    <a:pt x="1031" y="397"/>
                  </a:cubicBezTo>
                  <a:cubicBezTo>
                    <a:pt x="975" y="418"/>
                    <a:pt x="907" y="352"/>
                    <a:pt x="907" y="352"/>
                  </a:cubicBezTo>
                  <a:cubicBezTo>
                    <a:pt x="756" y="325"/>
                    <a:pt x="756" y="325"/>
                    <a:pt x="756" y="325"/>
                  </a:cubicBezTo>
                  <a:cubicBezTo>
                    <a:pt x="603" y="254"/>
                    <a:pt x="603" y="254"/>
                    <a:pt x="603" y="254"/>
                  </a:cubicBezTo>
                  <a:cubicBezTo>
                    <a:pt x="571" y="225"/>
                    <a:pt x="571" y="225"/>
                    <a:pt x="571" y="225"/>
                  </a:cubicBezTo>
                  <a:cubicBezTo>
                    <a:pt x="571" y="225"/>
                    <a:pt x="510" y="212"/>
                    <a:pt x="465" y="227"/>
                  </a:cubicBezTo>
                  <a:cubicBezTo>
                    <a:pt x="420" y="243"/>
                    <a:pt x="431" y="307"/>
                    <a:pt x="386" y="333"/>
                  </a:cubicBezTo>
                  <a:cubicBezTo>
                    <a:pt x="341" y="360"/>
                    <a:pt x="291" y="331"/>
                    <a:pt x="224" y="341"/>
                  </a:cubicBezTo>
                  <a:cubicBezTo>
                    <a:pt x="158" y="352"/>
                    <a:pt x="177" y="450"/>
                    <a:pt x="177" y="450"/>
                  </a:cubicBezTo>
                  <a:cubicBezTo>
                    <a:pt x="10" y="465"/>
                    <a:pt x="10" y="465"/>
                    <a:pt x="10" y="465"/>
                  </a:cubicBezTo>
                  <a:cubicBezTo>
                    <a:pt x="0" y="505"/>
                    <a:pt x="0" y="505"/>
                    <a:pt x="0" y="505"/>
                  </a:cubicBezTo>
                  <a:cubicBezTo>
                    <a:pt x="42" y="529"/>
                    <a:pt x="42" y="529"/>
                    <a:pt x="42" y="529"/>
                  </a:cubicBezTo>
                  <a:cubicBezTo>
                    <a:pt x="156" y="521"/>
                    <a:pt x="156" y="521"/>
                    <a:pt x="156" y="521"/>
                  </a:cubicBezTo>
                  <a:cubicBezTo>
                    <a:pt x="196" y="559"/>
                    <a:pt x="196" y="559"/>
                    <a:pt x="196" y="559"/>
                  </a:cubicBezTo>
                  <a:cubicBezTo>
                    <a:pt x="232" y="532"/>
                    <a:pt x="232" y="532"/>
                    <a:pt x="232" y="532"/>
                  </a:cubicBezTo>
                  <a:cubicBezTo>
                    <a:pt x="354" y="611"/>
                    <a:pt x="354" y="611"/>
                    <a:pt x="354" y="611"/>
                  </a:cubicBezTo>
                  <a:cubicBezTo>
                    <a:pt x="354" y="661"/>
                    <a:pt x="354" y="661"/>
                    <a:pt x="354" y="661"/>
                  </a:cubicBezTo>
                  <a:cubicBezTo>
                    <a:pt x="455" y="705"/>
                    <a:pt x="455" y="705"/>
                    <a:pt x="455" y="705"/>
                  </a:cubicBezTo>
                  <a:cubicBezTo>
                    <a:pt x="517" y="677"/>
                    <a:pt x="517" y="677"/>
                    <a:pt x="517" y="677"/>
                  </a:cubicBezTo>
                  <a:cubicBezTo>
                    <a:pt x="593" y="714"/>
                    <a:pt x="593" y="714"/>
                    <a:pt x="593" y="714"/>
                  </a:cubicBezTo>
                  <a:cubicBezTo>
                    <a:pt x="587" y="953"/>
                    <a:pt x="587" y="953"/>
                    <a:pt x="587" y="953"/>
                  </a:cubicBezTo>
                  <a:cubicBezTo>
                    <a:pt x="552" y="1038"/>
                    <a:pt x="552" y="1038"/>
                    <a:pt x="552" y="1038"/>
                  </a:cubicBezTo>
                  <a:cubicBezTo>
                    <a:pt x="565" y="1072"/>
                    <a:pt x="565" y="1072"/>
                    <a:pt x="565" y="1072"/>
                  </a:cubicBezTo>
                  <a:cubicBezTo>
                    <a:pt x="646" y="1066"/>
                    <a:pt x="646" y="1066"/>
                    <a:pt x="646" y="1066"/>
                  </a:cubicBezTo>
                  <a:cubicBezTo>
                    <a:pt x="646" y="1066"/>
                    <a:pt x="662" y="1192"/>
                    <a:pt x="643" y="1236"/>
                  </a:cubicBezTo>
                  <a:cubicBezTo>
                    <a:pt x="624" y="1279"/>
                    <a:pt x="555" y="1405"/>
                    <a:pt x="609" y="1455"/>
                  </a:cubicBezTo>
                  <a:cubicBezTo>
                    <a:pt x="662" y="1505"/>
                    <a:pt x="731" y="1549"/>
                    <a:pt x="731" y="1549"/>
                  </a:cubicBezTo>
                  <a:cubicBezTo>
                    <a:pt x="769" y="1537"/>
                    <a:pt x="769" y="1537"/>
                    <a:pt x="769" y="1537"/>
                  </a:cubicBezTo>
                  <a:cubicBezTo>
                    <a:pt x="957" y="1612"/>
                    <a:pt x="957" y="1612"/>
                    <a:pt x="957" y="1612"/>
                  </a:cubicBezTo>
                  <a:cubicBezTo>
                    <a:pt x="1054" y="1622"/>
                    <a:pt x="1054" y="1622"/>
                    <a:pt x="1054" y="1622"/>
                  </a:cubicBezTo>
                  <a:cubicBezTo>
                    <a:pt x="1155" y="1688"/>
                    <a:pt x="1155" y="1688"/>
                    <a:pt x="1155" y="1688"/>
                  </a:cubicBezTo>
                  <a:cubicBezTo>
                    <a:pt x="1192" y="1691"/>
                    <a:pt x="1192" y="1691"/>
                    <a:pt x="1192" y="1691"/>
                  </a:cubicBezTo>
                  <a:cubicBezTo>
                    <a:pt x="1189" y="1807"/>
                    <a:pt x="1189" y="1807"/>
                    <a:pt x="1189" y="1807"/>
                  </a:cubicBezTo>
                  <a:cubicBezTo>
                    <a:pt x="1202" y="1866"/>
                    <a:pt x="1202" y="1866"/>
                    <a:pt x="1202" y="1866"/>
                  </a:cubicBezTo>
                  <a:cubicBezTo>
                    <a:pt x="1124" y="1946"/>
                    <a:pt x="1124" y="1946"/>
                    <a:pt x="1124" y="1946"/>
                  </a:cubicBezTo>
                  <a:cubicBezTo>
                    <a:pt x="1201" y="1965"/>
                    <a:pt x="1201" y="1965"/>
                    <a:pt x="1201" y="1965"/>
                  </a:cubicBezTo>
                  <a:cubicBezTo>
                    <a:pt x="1235" y="2115"/>
                    <a:pt x="1235" y="2115"/>
                    <a:pt x="1235" y="2115"/>
                  </a:cubicBezTo>
                  <a:cubicBezTo>
                    <a:pt x="1235" y="2115"/>
                    <a:pt x="1187" y="2141"/>
                    <a:pt x="1231" y="2166"/>
                  </a:cubicBezTo>
                  <a:cubicBezTo>
                    <a:pt x="1275" y="2192"/>
                    <a:pt x="1310" y="2113"/>
                    <a:pt x="1310" y="2113"/>
                  </a:cubicBezTo>
                  <a:cubicBezTo>
                    <a:pt x="1358" y="2120"/>
                    <a:pt x="1358" y="2120"/>
                    <a:pt x="1358" y="2120"/>
                  </a:cubicBezTo>
                  <a:cubicBezTo>
                    <a:pt x="1463" y="2189"/>
                    <a:pt x="1463" y="2189"/>
                    <a:pt x="1463" y="2189"/>
                  </a:cubicBezTo>
                  <a:cubicBezTo>
                    <a:pt x="1718" y="2171"/>
                    <a:pt x="1718" y="2171"/>
                    <a:pt x="1718" y="2171"/>
                  </a:cubicBezTo>
                  <a:cubicBezTo>
                    <a:pt x="1748" y="2074"/>
                    <a:pt x="1748" y="2074"/>
                    <a:pt x="1748" y="2074"/>
                  </a:cubicBezTo>
                  <a:cubicBezTo>
                    <a:pt x="1748" y="2074"/>
                    <a:pt x="1776" y="1997"/>
                    <a:pt x="1829" y="1997"/>
                  </a:cubicBezTo>
                  <a:cubicBezTo>
                    <a:pt x="1882" y="1997"/>
                    <a:pt x="1931" y="2029"/>
                    <a:pt x="1931" y="2029"/>
                  </a:cubicBezTo>
                  <a:cubicBezTo>
                    <a:pt x="1957" y="1999"/>
                    <a:pt x="1957" y="1999"/>
                    <a:pt x="1957" y="1999"/>
                  </a:cubicBezTo>
                  <a:cubicBezTo>
                    <a:pt x="2089" y="1951"/>
                    <a:pt x="2089" y="1951"/>
                    <a:pt x="2089" y="1951"/>
                  </a:cubicBezTo>
                  <a:cubicBezTo>
                    <a:pt x="2114" y="1974"/>
                    <a:pt x="2114" y="1974"/>
                    <a:pt x="2114" y="1974"/>
                  </a:cubicBezTo>
                  <a:cubicBezTo>
                    <a:pt x="2153" y="1962"/>
                    <a:pt x="2153" y="1962"/>
                    <a:pt x="2153" y="1962"/>
                  </a:cubicBezTo>
                  <a:cubicBezTo>
                    <a:pt x="2162" y="1935"/>
                    <a:pt x="2181" y="1904"/>
                    <a:pt x="2169" y="1879"/>
                  </a:cubicBezTo>
                  <a:cubicBezTo>
                    <a:pt x="2128" y="1798"/>
                    <a:pt x="2022" y="1744"/>
                    <a:pt x="2086" y="1658"/>
                  </a:cubicBezTo>
                  <a:cubicBezTo>
                    <a:pt x="2121" y="1610"/>
                    <a:pt x="2179" y="1456"/>
                    <a:pt x="2100" y="1440"/>
                  </a:cubicBezTo>
                  <a:cubicBezTo>
                    <a:pt x="2077" y="1436"/>
                    <a:pt x="2132" y="1295"/>
                    <a:pt x="2084" y="1277"/>
                  </a:cubicBezTo>
                  <a:cubicBezTo>
                    <a:pt x="2019" y="1253"/>
                    <a:pt x="2019" y="1225"/>
                    <a:pt x="2004" y="1160"/>
                  </a:cubicBezTo>
                  <a:cubicBezTo>
                    <a:pt x="1988" y="1092"/>
                    <a:pt x="2049" y="1109"/>
                    <a:pt x="2049" y="1054"/>
                  </a:cubicBezTo>
                  <a:cubicBezTo>
                    <a:pt x="2049" y="933"/>
                    <a:pt x="1863" y="724"/>
                    <a:pt x="1716" y="718"/>
                  </a:cubicBezTo>
                  <a:cubicBezTo>
                    <a:pt x="1732" y="682"/>
                    <a:pt x="1723" y="607"/>
                    <a:pt x="1744" y="580"/>
                  </a:cubicBezTo>
                  <a:cubicBezTo>
                    <a:pt x="1779" y="534"/>
                    <a:pt x="1846" y="535"/>
                    <a:pt x="1856" y="467"/>
                  </a:cubicBezTo>
                  <a:cubicBezTo>
                    <a:pt x="1869" y="382"/>
                    <a:pt x="1895" y="298"/>
                    <a:pt x="1869" y="219"/>
                  </a:cubicBezTo>
                  <a:cubicBezTo>
                    <a:pt x="1797" y="249"/>
                    <a:pt x="1797" y="249"/>
                    <a:pt x="1797" y="249"/>
                  </a:cubicBezTo>
                  <a:lnTo>
                    <a:pt x="1808" y="286"/>
                  </a:lnTo>
                  <a:close/>
                  <a:moveTo>
                    <a:pt x="1517" y="1159"/>
                  </a:moveTo>
                  <a:cubicBezTo>
                    <a:pt x="1462" y="1216"/>
                    <a:pt x="1462" y="1216"/>
                    <a:pt x="1462" y="1216"/>
                  </a:cubicBezTo>
                  <a:cubicBezTo>
                    <a:pt x="1454" y="1167"/>
                    <a:pt x="1454" y="1167"/>
                    <a:pt x="1454" y="1167"/>
                  </a:cubicBezTo>
                  <a:cubicBezTo>
                    <a:pt x="1355" y="1140"/>
                    <a:pt x="1355" y="1140"/>
                    <a:pt x="1355" y="1140"/>
                  </a:cubicBezTo>
                  <a:cubicBezTo>
                    <a:pt x="1327" y="1169"/>
                    <a:pt x="1327" y="1169"/>
                    <a:pt x="1327" y="1169"/>
                  </a:cubicBezTo>
                  <a:cubicBezTo>
                    <a:pt x="1259" y="1152"/>
                    <a:pt x="1259" y="1152"/>
                    <a:pt x="1259" y="1152"/>
                  </a:cubicBezTo>
                  <a:cubicBezTo>
                    <a:pt x="1146" y="1175"/>
                    <a:pt x="1146" y="1175"/>
                    <a:pt x="1146" y="1175"/>
                  </a:cubicBezTo>
                  <a:cubicBezTo>
                    <a:pt x="1144" y="1095"/>
                    <a:pt x="1144" y="1095"/>
                    <a:pt x="1144" y="1095"/>
                  </a:cubicBezTo>
                  <a:cubicBezTo>
                    <a:pt x="1165" y="1058"/>
                    <a:pt x="1165" y="1058"/>
                    <a:pt x="1165" y="1058"/>
                  </a:cubicBezTo>
                  <a:cubicBezTo>
                    <a:pt x="1148" y="1042"/>
                    <a:pt x="1148" y="1042"/>
                    <a:pt x="1148" y="1042"/>
                  </a:cubicBezTo>
                  <a:cubicBezTo>
                    <a:pt x="1152" y="1009"/>
                    <a:pt x="1152" y="1009"/>
                    <a:pt x="1152" y="1009"/>
                  </a:cubicBezTo>
                  <a:cubicBezTo>
                    <a:pt x="1165" y="1005"/>
                    <a:pt x="1165" y="1005"/>
                    <a:pt x="1165" y="1005"/>
                  </a:cubicBezTo>
                  <a:cubicBezTo>
                    <a:pt x="1165" y="964"/>
                    <a:pt x="1165" y="964"/>
                    <a:pt x="1165" y="964"/>
                  </a:cubicBezTo>
                  <a:cubicBezTo>
                    <a:pt x="1239" y="904"/>
                    <a:pt x="1239" y="904"/>
                    <a:pt x="1239" y="904"/>
                  </a:cubicBezTo>
                  <a:cubicBezTo>
                    <a:pt x="1300" y="919"/>
                    <a:pt x="1300" y="919"/>
                    <a:pt x="1300" y="919"/>
                  </a:cubicBezTo>
                  <a:cubicBezTo>
                    <a:pt x="1329" y="941"/>
                    <a:pt x="1329" y="941"/>
                    <a:pt x="1329" y="941"/>
                  </a:cubicBezTo>
                  <a:cubicBezTo>
                    <a:pt x="1329" y="941"/>
                    <a:pt x="1339" y="890"/>
                    <a:pt x="1349" y="888"/>
                  </a:cubicBezTo>
                  <a:cubicBezTo>
                    <a:pt x="1359" y="886"/>
                    <a:pt x="1372" y="904"/>
                    <a:pt x="1372" y="904"/>
                  </a:cubicBezTo>
                  <a:cubicBezTo>
                    <a:pt x="1370" y="949"/>
                    <a:pt x="1370" y="949"/>
                    <a:pt x="1370" y="949"/>
                  </a:cubicBezTo>
                  <a:cubicBezTo>
                    <a:pt x="1402" y="964"/>
                    <a:pt x="1402" y="964"/>
                    <a:pt x="1402" y="964"/>
                  </a:cubicBezTo>
                  <a:cubicBezTo>
                    <a:pt x="1439" y="1005"/>
                    <a:pt x="1439" y="1005"/>
                    <a:pt x="1439" y="1005"/>
                  </a:cubicBezTo>
                  <a:cubicBezTo>
                    <a:pt x="1472" y="1013"/>
                    <a:pt x="1472" y="1013"/>
                    <a:pt x="1472" y="1013"/>
                  </a:cubicBezTo>
                  <a:cubicBezTo>
                    <a:pt x="1472" y="1013"/>
                    <a:pt x="1447" y="1062"/>
                    <a:pt x="1458" y="1077"/>
                  </a:cubicBezTo>
                  <a:cubicBezTo>
                    <a:pt x="1470" y="1093"/>
                    <a:pt x="1521" y="1089"/>
                    <a:pt x="1521" y="1089"/>
                  </a:cubicBezTo>
                  <a:lnTo>
                    <a:pt x="1517" y="1159"/>
                  </a:lnTo>
                  <a:close/>
                </a:path>
              </a:pathLst>
            </a:custGeom>
            <a:solidFill>
              <a:schemeClr val="folHlink"/>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201" name="Freeform 17">
              <a:extLst>
                <a:ext uri="{FF2B5EF4-FFF2-40B4-BE49-F238E27FC236}">
                  <a16:creationId xmlns:a16="http://schemas.microsoft.com/office/drawing/2014/main" id="{8910CDEE-CE3D-4345-9056-C72134E0A271}"/>
                </a:ext>
              </a:extLst>
            </p:cNvPr>
            <p:cNvSpPr>
              <a:spLocks/>
            </p:cNvSpPr>
            <p:nvPr/>
          </p:nvSpPr>
          <p:spPr bwMode="auto">
            <a:xfrm>
              <a:off x="1447" y="2334"/>
              <a:ext cx="1202" cy="1256"/>
            </a:xfrm>
            <a:custGeom>
              <a:avLst/>
              <a:gdLst>
                <a:gd name="T0" fmla="*/ 1998 w 3172"/>
                <a:gd name="T1" fmla="*/ 227 h 3315"/>
                <a:gd name="T2" fmla="*/ 1920 w 3172"/>
                <a:gd name="T3" fmla="*/ 150 h 3315"/>
                <a:gd name="T4" fmla="*/ 1870 w 3172"/>
                <a:gd name="T5" fmla="*/ 122 h 3315"/>
                <a:gd name="T6" fmla="*/ 1680 w 3172"/>
                <a:gd name="T7" fmla="*/ 150 h 3315"/>
                <a:gd name="T8" fmla="*/ 1560 w 3172"/>
                <a:gd name="T9" fmla="*/ 60 h 3315"/>
                <a:gd name="T10" fmla="*/ 1452 w 3172"/>
                <a:gd name="T11" fmla="*/ 270 h 3315"/>
                <a:gd name="T12" fmla="*/ 1380 w 3172"/>
                <a:gd name="T13" fmla="*/ 198 h 3315"/>
                <a:gd name="T14" fmla="*/ 1116 w 3172"/>
                <a:gd name="T15" fmla="*/ 222 h 3315"/>
                <a:gd name="T16" fmla="*/ 1056 w 3172"/>
                <a:gd name="T17" fmla="*/ 324 h 3315"/>
                <a:gd name="T18" fmla="*/ 918 w 3172"/>
                <a:gd name="T19" fmla="*/ 162 h 3315"/>
                <a:gd name="T20" fmla="*/ 744 w 3172"/>
                <a:gd name="T21" fmla="*/ 0 h 3315"/>
                <a:gd name="T22" fmla="*/ 510 w 3172"/>
                <a:gd name="T23" fmla="*/ 126 h 3315"/>
                <a:gd name="T24" fmla="*/ 408 w 3172"/>
                <a:gd name="T25" fmla="*/ 336 h 3315"/>
                <a:gd name="T26" fmla="*/ 354 w 3172"/>
                <a:gd name="T27" fmla="*/ 444 h 3315"/>
                <a:gd name="T28" fmla="*/ 240 w 3172"/>
                <a:gd name="T29" fmla="*/ 408 h 3315"/>
                <a:gd name="T30" fmla="*/ 108 w 3172"/>
                <a:gd name="T31" fmla="*/ 456 h 3315"/>
                <a:gd name="T32" fmla="*/ 0 w 3172"/>
                <a:gd name="T33" fmla="*/ 480 h 3315"/>
                <a:gd name="T34" fmla="*/ 84 w 3172"/>
                <a:gd name="T35" fmla="*/ 768 h 3315"/>
                <a:gd name="T36" fmla="*/ 66 w 3172"/>
                <a:gd name="T37" fmla="*/ 984 h 3315"/>
                <a:gd name="T38" fmla="*/ 192 w 3172"/>
                <a:gd name="T39" fmla="*/ 906 h 3315"/>
                <a:gd name="T40" fmla="*/ 264 w 3172"/>
                <a:gd name="T41" fmla="*/ 840 h 3315"/>
                <a:gd name="T42" fmla="*/ 354 w 3172"/>
                <a:gd name="T43" fmla="*/ 786 h 3315"/>
                <a:gd name="T44" fmla="*/ 432 w 3172"/>
                <a:gd name="T45" fmla="*/ 852 h 3315"/>
                <a:gd name="T46" fmla="*/ 546 w 3172"/>
                <a:gd name="T47" fmla="*/ 990 h 3315"/>
                <a:gd name="T48" fmla="*/ 600 w 3172"/>
                <a:gd name="T49" fmla="*/ 1074 h 3315"/>
                <a:gd name="T50" fmla="*/ 690 w 3172"/>
                <a:gd name="T51" fmla="*/ 1014 h 3315"/>
                <a:gd name="T52" fmla="*/ 714 w 3172"/>
                <a:gd name="T53" fmla="*/ 1266 h 3315"/>
                <a:gd name="T54" fmla="*/ 816 w 3172"/>
                <a:gd name="T55" fmla="*/ 1428 h 3315"/>
                <a:gd name="T56" fmla="*/ 924 w 3172"/>
                <a:gd name="T57" fmla="*/ 1584 h 3315"/>
                <a:gd name="T58" fmla="*/ 966 w 3172"/>
                <a:gd name="T59" fmla="*/ 1848 h 3315"/>
                <a:gd name="T60" fmla="*/ 846 w 3172"/>
                <a:gd name="T61" fmla="*/ 2028 h 3315"/>
                <a:gd name="T62" fmla="*/ 654 w 3172"/>
                <a:gd name="T63" fmla="*/ 2100 h 3315"/>
                <a:gd name="T64" fmla="*/ 708 w 3172"/>
                <a:gd name="T65" fmla="*/ 2556 h 3315"/>
                <a:gd name="T66" fmla="*/ 712 w 3172"/>
                <a:gd name="T67" fmla="*/ 2878 h 3315"/>
                <a:gd name="T68" fmla="*/ 393 w 3172"/>
                <a:gd name="T69" fmla="*/ 2962 h 3315"/>
                <a:gd name="T70" fmla="*/ 396 w 3172"/>
                <a:gd name="T71" fmla="*/ 3049 h 3315"/>
                <a:gd name="T72" fmla="*/ 610 w 3172"/>
                <a:gd name="T73" fmla="*/ 3101 h 3315"/>
                <a:gd name="T74" fmla="*/ 753 w 3172"/>
                <a:gd name="T75" fmla="*/ 3199 h 3315"/>
                <a:gd name="T76" fmla="*/ 937 w 3172"/>
                <a:gd name="T77" fmla="*/ 3145 h 3315"/>
                <a:gd name="T78" fmla="*/ 998 w 3172"/>
                <a:gd name="T79" fmla="*/ 3033 h 3315"/>
                <a:gd name="T80" fmla="*/ 1196 w 3172"/>
                <a:gd name="T81" fmla="*/ 3110 h 3315"/>
                <a:gd name="T82" fmla="*/ 1453 w 3172"/>
                <a:gd name="T83" fmla="*/ 3156 h 3315"/>
                <a:gd name="T84" fmla="*/ 1580 w 3172"/>
                <a:gd name="T85" fmla="*/ 3147 h 3315"/>
                <a:gd name="T86" fmla="*/ 1702 w 3172"/>
                <a:gd name="T87" fmla="*/ 3007 h 3315"/>
                <a:gd name="T88" fmla="*/ 2102 w 3172"/>
                <a:gd name="T89" fmla="*/ 2972 h 3315"/>
                <a:gd name="T90" fmla="*/ 2129 w 3172"/>
                <a:gd name="T91" fmla="*/ 2901 h 3315"/>
                <a:gd name="T92" fmla="*/ 2509 w 3172"/>
                <a:gd name="T93" fmla="*/ 2899 h 3315"/>
                <a:gd name="T94" fmla="*/ 2672 w 3172"/>
                <a:gd name="T95" fmla="*/ 3080 h 3315"/>
                <a:gd name="T96" fmla="*/ 2589 w 3172"/>
                <a:gd name="T97" fmla="*/ 2857 h 3315"/>
                <a:gd name="T98" fmla="*/ 2530 w 3172"/>
                <a:gd name="T99" fmla="*/ 2545 h 3315"/>
                <a:gd name="T100" fmla="*/ 2653 w 3172"/>
                <a:gd name="T101" fmla="*/ 2296 h 3315"/>
                <a:gd name="T102" fmla="*/ 2900 w 3172"/>
                <a:gd name="T103" fmla="*/ 1993 h 3315"/>
                <a:gd name="T104" fmla="*/ 3161 w 3172"/>
                <a:gd name="T105" fmla="*/ 1836 h 3315"/>
                <a:gd name="T106" fmla="*/ 2877 w 3172"/>
                <a:gd name="T107" fmla="*/ 1512 h 3315"/>
                <a:gd name="T108" fmla="*/ 2485 w 3172"/>
                <a:gd name="T109" fmla="*/ 1218 h 3315"/>
                <a:gd name="T110" fmla="*/ 2274 w 3172"/>
                <a:gd name="T111" fmla="*/ 885 h 3315"/>
                <a:gd name="T112" fmla="*/ 2244 w 3172"/>
                <a:gd name="T113" fmla="*/ 734 h 3315"/>
                <a:gd name="T114" fmla="*/ 2231 w 3172"/>
                <a:gd name="T115" fmla="*/ 616 h 3315"/>
                <a:gd name="T116" fmla="*/ 1987 w 3172"/>
                <a:gd name="T117" fmla="*/ 250 h 3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72" h="3315">
                  <a:moveTo>
                    <a:pt x="2002" y="247"/>
                  </a:moveTo>
                  <a:cubicBezTo>
                    <a:pt x="1998" y="227"/>
                    <a:pt x="1998" y="227"/>
                    <a:pt x="1998" y="227"/>
                  </a:cubicBezTo>
                  <a:cubicBezTo>
                    <a:pt x="1944" y="198"/>
                    <a:pt x="1944" y="198"/>
                    <a:pt x="1944" y="198"/>
                  </a:cubicBezTo>
                  <a:cubicBezTo>
                    <a:pt x="1920" y="150"/>
                    <a:pt x="1920" y="150"/>
                    <a:pt x="1920" y="150"/>
                  </a:cubicBezTo>
                  <a:cubicBezTo>
                    <a:pt x="1872" y="120"/>
                    <a:pt x="1872" y="120"/>
                    <a:pt x="1872" y="120"/>
                  </a:cubicBezTo>
                  <a:cubicBezTo>
                    <a:pt x="1870" y="122"/>
                    <a:pt x="1870" y="122"/>
                    <a:pt x="1870" y="122"/>
                  </a:cubicBezTo>
                  <a:cubicBezTo>
                    <a:pt x="1824" y="150"/>
                    <a:pt x="1824" y="150"/>
                    <a:pt x="1824" y="150"/>
                  </a:cubicBezTo>
                  <a:cubicBezTo>
                    <a:pt x="1680" y="150"/>
                    <a:pt x="1680" y="150"/>
                    <a:pt x="1680" y="150"/>
                  </a:cubicBezTo>
                  <a:cubicBezTo>
                    <a:pt x="1620" y="168"/>
                    <a:pt x="1620" y="168"/>
                    <a:pt x="1620" y="168"/>
                  </a:cubicBezTo>
                  <a:cubicBezTo>
                    <a:pt x="1560" y="60"/>
                    <a:pt x="1560" y="60"/>
                    <a:pt x="1560" y="60"/>
                  </a:cubicBezTo>
                  <a:cubicBezTo>
                    <a:pt x="1560" y="60"/>
                    <a:pt x="1482" y="24"/>
                    <a:pt x="1464" y="84"/>
                  </a:cubicBezTo>
                  <a:cubicBezTo>
                    <a:pt x="1446" y="144"/>
                    <a:pt x="1470" y="240"/>
                    <a:pt x="1452" y="270"/>
                  </a:cubicBezTo>
                  <a:cubicBezTo>
                    <a:pt x="1434" y="300"/>
                    <a:pt x="1386" y="264"/>
                    <a:pt x="1386" y="264"/>
                  </a:cubicBezTo>
                  <a:cubicBezTo>
                    <a:pt x="1380" y="198"/>
                    <a:pt x="1380" y="198"/>
                    <a:pt x="1380" y="198"/>
                  </a:cubicBezTo>
                  <a:cubicBezTo>
                    <a:pt x="1380" y="198"/>
                    <a:pt x="1278" y="174"/>
                    <a:pt x="1230" y="174"/>
                  </a:cubicBezTo>
                  <a:cubicBezTo>
                    <a:pt x="1182" y="174"/>
                    <a:pt x="1122" y="192"/>
                    <a:pt x="1116" y="222"/>
                  </a:cubicBezTo>
                  <a:cubicBezTo>
                    <a:pt x="1110" y="252"/>
                    <a:pt x="1212" y="276"/>
                    <a:pt x="1206" y="294"/>
                  </a:cubicBezTo>
                  <a:cubicBezTo>
                    <a:pt x="1200" y="312"/>
                    <a:pt x="1056" y="324"/>
                    <a:pt x="1056" y="324"/>
                  </a:cubicBezTo>
                  <a:cubicBezTo>
                    <a:pt x="1026" y="226"/>
                    <a:pt x="1026" y="226"/>
                    <a:pt x="1026" y="226"/>
                  </a:cubicBezTo>
                  <a:cubicBezTo>
                    <a:pt x="918" y="162"/>
                    <a:pt x="918" y="162"/>
                    <a:pt x="918" y="162"/>
                  </a:cubicBezTo>
                  <a:cubicBezTo>
                    <a:pt x="864" y="78"/>
                    <a:pt x="864" y="78"/>
                    <a:pt x="864" y="78"/>
                  </a:cubicBezTo>
                  <a:cubicBezTo>
                    <a:pt x="864" y="78"/>
                    <a:pt x="786" y="0"/>
                    <a:pt x="744" y="0"/>
                  </a:cubicBezTo>
                  <a:cubicBezTo>
                    <a:pt x="702" y="0"/>
                    <a:pt x="672" y="102"/>
                    <a:pt x="630" y="132"/>
                  </a:cubicBezTo>
                  <a:cubicBezTo>
                    <a:pt x="588" y="162"/>
                    <a:pt x="510" y="126"/>
                    <a:pt x="510" y="126"/>
                  </a:cubicBezTo>
                  <a:cubicBezTo>
                    <a:pt x="480" y="246"/>
                    <a:pt x="480" y="246"/>
                    <a:pt x="480" y="246"/>
                  </a:cubicBezTo>
                  <a:cubicBezTo>
                    <a:pt x="408" y="336"/>
                    <a:pt x="408" y="336"/>
                    <a:pt x="408" y="336"/>
                  </a:cubicBezTo>
                  <a:cubicBezTo>
                    <a:pt x="336" y="318"/>
                    <a:pt x="336" y="318"/>
                    <a:pt x="336" y="318"/>
                  </a:cubicBezTo>
                  <a:cubicBezTo>
                    <a:pt x="354" y="444"/>
                    <a:pt x="354" y="444"/>
                    <a:pt x="354" y="444"/>
                  </a:cubicBezTo>
                  <a:cubicBezTo>
                    <a:pt x="294" y="462"/>
                    <a:pt x="294" y="462"/>
                    <a:pt x="294" y="462"/>
                  </a:cubicBezTo>
                  <a:cubicBezTo>
                    <a:pt x="240" y="408"/>
                    <a:pt x="240" y="408"/>
                    <a:pt x="240" y="408"/>
                  </a:cubicBezTo>
                  <a:cubicBezTo>
                    <a:pt x="150" y="396"/>
                    <a:pt x="150" y="396"/>
                    <a:pt x="150" y="396"/>
                  </a:cubicBezTo>
                  <a:cubicBezTo>
                    <a:pt x="108" y="456"/>
                    <a:pt x="108" y="456"/>
                    <a:pt x="108" y="456"/>
                  </a:cubicBezTo>
                  <a:cubicBezTo>
                    <a:pt x="84" y="426"/>
                    <a:pt x="84" y="426"/>
                    <a:pt x="84" y="426"/>
                  </a:cubicBezTo>
                  <a:cubicBezTo>
                    <a:pt x="0" y="480"/>
                    <a:pt x="0" y="480"/>
                    <a:pt x="0" y="480"/>
                  </a:cubicBezTo>
                  <a:cubicBezTo>
                    <a:pt x="42" y="708"/>
                    <a:pt x="42" y="708"/>
                    <a:pt x="42" y="708"/>
                  </a:cubicBezTo>
                  <a:cubicBezTo>
                    <a:pt x="42" y="708"/>
                    <a:pt x="72" y="702"/>
                    <a:pt x="84" y="768"/>
                  </a:cubicBezTo>
                  <a:cubicBezTo>
                    <a:pt x="96" y="834"/>
                    <a:pt x="36" y="894"/>
                    <a:pt x="42" y="936"/>
                  </a:cubicBezTo>
                  <a:cubicBezTo>
                    <a:pt x="48" y="978"/>
                    <a:pt x="66" y="984"/>
                    <a:pt x="66" y="984"/>
                  </a:cubicBezTo>
                  <a:cubicBezTo>
                    <a:pt x="156" y="966"/>
                    <a:pt x="156" y="966"/>
                    <a:pt x="156" y="966"/>
                  </a:cubicBezTo>
                  <a:cubicBezTo>
                    <a:pt x="192" y="906"/>
                    <a:pt x="192" y="906"/>
                    <a:pt x="192" y="906"/>
                  </a:cubicBezTo>
                  <a:cubicBezTo>
                    <a:pt x="270" y="912"/>
                    <a:pt x="270" y="912"/>
                    <a:pt x="270" y="912"/>
                  </a:cubicBezTo>
                  <a:cubicBezTo>
                    <a:pt x="264" y="840"/>
                    <a:pt x="264" y="840"/>
                    <a:pt x="264" y="840"/>
                  </a:cubicBezTo>
                  <a:cubicBezTo>
                    <a:pt x="264" y="840"/>
                    <a:pt x="204" y="816"/>
                    <a:pt x="252" y="768"/>
                  </a:cubicBezTo>
                  <a:cubicBezTo>
                    <a:pt x="300" y="720"/>
                    <a:pt x="354" y="786"/>
                    <a:pt x="354" y="786"/>
                  </a:cubicBezTo>
                  <a:cubicBezTo>
                    <a:pt x="426" y="774"/>
                    <a:pt x="426" y="774"/>
                    <a:pt x="426" y="774"/>
                  </a:cubicBezTo>
                  <a:cubicBezTo>
                    <a:pt x="432" y="852"/>
                    <a:pt x="432" y="852"/>
                    <a:pt x="432" y="852"/>
                  </a:cubicBezTo>
                  <a:cubicBezTo>
                    <a:pt x="516" y="846"/>
                    <a:pt x="516" y="846"/>
                    <a:pt x="516" y="846"/>
                  </a:cubicBezTo>
                  <a:cubicBezTo>
                    <a:pt x="546" y="990"/>
                    <a:pt x="546" y="990"/>
                    <a:pt x="546" y="990"/>
                  </a:cubicBezTo>
                  <a:cubicBezTo>
                    <a:pt x="588" y="990"/>
                    <a:pt x="588" y="990"/>
                    <a:pt x="588" y="990"/>
                  </a:cubicBezTo>
                  <a:cubicBezTo>
                    <a:pt x="600" y="1074"/>
                    <a:pt x="600" y="1074"/>
                    <a:pt x="600" y="1074"/>
                  </a:cubicBezTo>
                  <a:cubicBezTo>
                    <a:pt x="648" y="1068"/>
                    <a:pt x="648" y="1068"/>
                    <a:pt x="648" y="1068"/>
                  </a:cubicBezTo>
                  <a:cubicBezTo>
                    <a:pt x="690" y="1014"/>
                    <a:pt x="690" y="1014"/>
                    <a:pt x="690" y="1014"/>
                  </a:cubicBezTo>
                  <a:cubicBezTo>
                    <a:pt x="744" y="1140"/>
                    <a:pt x="744" y="1140"/>
                    <a:pt x="744" y="1140"/>
                  </a:cubicBezTo>
                  <a:cubicBezTo>
                    <a:pt x="714" y="1266"/>
                    <a:pt x="714" y="1266"/>
                    <a:pt x="714" y="1266"/>
                  </a:cubicBezTo>
                  <a:cubicBezTo>
                    <a:pt x="738" y="1356"/>
                    <a:pt x="738" y="1356"/>
                    <a:pt x="738" y="1356"/>
                  </a:cubicBezTo>
                  <a:cubicBezTo>
                    <a:pt x="816" y="1428"/>
                    <a:pt x="816" y="1428"/>
                    <a:pt x="816" y="1428"/>
                  </a:cubicBezTo>
                  <a:cubicBezTo>
                    <a:pt x="786" y="1488"/>
                    <a:pt x="786" y="1488"/>
                    <a:pt x="786" y="1488"/>
                  </a:cubicBezTo>
                  <a:cubicBezTo>
                    <a:pt x="924" y="1584"/>
                    <a:pt x="924" y="1584"/>
                    <a:pt x="924" y="1584"/>
                  </a:cubicBezTo>
                  <a:cubicBezTo>
                    <a:pt x="918" y="1782"/>
                    <a:pt x="918" y="1782"/>
                    <a:pt x="918" y="1782"/>
                  </a:cubicBezTo>
                  <a:cubicBezTo>
                    <a:pt x="966" y="1848"/>
                    <a:pt x="966" y="1848"/>
                    <a:pt x="966" y="1848"/>
                  </a:cubicBezTo>
                  <a:cubicBezTo>
                    <a:pt x="822" y="1878"/>
                    <a:pt x="822" y="1878"/>
                    <a:pt x="822" y="1878"/>
                  </a:cubicBezTo>
                  <a:cubicBezTo>
                    <a:pt x="846" y="2028"/>
                    <a:pt x="846" y="2028"/>
                    <a:pt x="846" y="2028"/>
                  </a:cubicBezTo>
                  <a:cubicBezTo>
                    <a:pt x="762" y="2100"/>
                    <a:pt x="762" y="2100"/>
                    <a:pt x="762" y="2100"/>
                  </a:cubicBezTo>
                  <a:cubicBezTo>
                    <a:pt x="762" y="2100"/>
                    <a:pt x="702" y="2040"/>
                    <a:pt x="654" y="2100"/>
                  </a:cubicBezTo>
                  <a:cubicBezTo>
                    <a:pt x="606" y="2160"/>
                    <a:pt x="678" y="2232"/>
                    <a:pt x="690" y="2310"/>
                  </a:cubicBezTo>
                  <a:cubicBezTo>
                    <a:pt x="702" y="2388"/>
                    <a:pt x="708" y="2556"/>
                    <a:pt x="708" y="2556"/>
                  </a:cubicBezTo>
                  <a:cubicBezTo>
                    <a:pt x="684" y="2694"/>
                    <a:pt x="684" y="2694"/>
                    <a:pt x="684" y="2694"/>
                  </a:cubicBezTo>
                  <a:cubicBezTo>
                    <a:pt x="712" y="2878"/>
                    <a:pt x="712" y="2878"/>
                    <a:pt x="712" y="2878"/>
                  </a:cubicBezTo>
                  <a:cubicBezTo>
                    <a:pt x="528" y="2892"/>
                    <a:pt x="528" y="2892"/>
                    <a:pt x="528" y="2892"/>
                  </a:cubicBezTo>
                  <a:cubicBezTo>
                    <a:pt x="393" y="2962"/>
                    <a:pt x="393" y="2962"/>
                    <a:pt x="393" y="2962"/>
                  </a:cubicBezTo>
                  <a:cubicBezTo>
                    <a:pt x="323" y="3036"/>
                    <a:pt x="323" y="3036"/>
                    <a:pt x="323" y="3036"/>
                  </a:cubicBezTo>
                  <a:cubicBezTo>
                    <a:pt x="343" y="3043"/>
                    <a:pt x="366" y="3048"/>
                    <a:pt x="396" y="3049"/>
                  </a:cubicBezTo>
                  <a:cubicBezTo>
                    <a:pt x="449" y="3052"/>
                    <a:pt x="430" y="2977"/>
                    <a:pt x="492" y="2998"/>
                  </a:cubicBezTo>
                  <a:cubicBezTo>
                    <a:pt x="501" y="3000"/>
                    <a:pt x="569" y="3064"/>
                    <a:pt x="610" y="3101"/>
                  </a:cubicBezTo>
                  <a:cubicBezTo>
                    <a:pt x="669" y="3155"/>
                    <a:pt x="650" y="3148"/>
                    <a:pt x="676" y="3234"/>
                  </a:cubicBezTo>
                  <a:cubicBezTo>
                    <a:pt x="690" y="3217"/>
                    <a:pt x="730" y="3191"/>
                    <a:pt x="753" y="3199"/>
                  </a:cubicBezTo>
                  <a:cubicBezTo>
                    <a:pt x="791" y="3211"/>
                    <a:pt x="731" y="3294"/>
                    <a:pt x="725" y="3315"/>
                  </a:cubicBezTo>
                  <a:cubicBezTo>
                    <a:pt x="794" y="3303"/>
                    <a:pt x="933" y="3225"/>
                    <a:pt x="937" y="3145"/>
                  </a:cubicBezTo>
                  <a:cubicBezTo>
                    <a:pt x="939" y="3090"/>
                    <a:pt x="872" y="3032"/>
                    <a:pt x="938" y="3000"/>
                  </a:cubicBezTo>
                  <a:cubicBezTo>
                    <a:pt x="923" y="3007"/>
                    <a:pt x="955" y="3100"/>
                    <a:pt x="998" y="3033"/>
                  </a:cubicBezTo>
                  <a:cubicBezTo>
                    <a:pt x="1017" y="3003"/>
                    <a:pt x="1213" y="3059"/>
                    <a:pt x="1196" y="3048"/>
                  </a:cubicBezTo>
                  <a:cubicBezTo>
                    <a:pt x="1233" y="3072"/>
                    <a:pt x="1213" y="3084"/>
                    <a:pt x="1196" y="3110"/>
                  </a:cubicBezTo>
                  <a:cubicBezTo>
                    <a:pt x="1242" y="3113"/>
                    <a:pt x="1269" y="3150"/>
                    <a:pt x="1260" y="3195"/>
                  </a:cubicBezTo>
                  <a:cubicBezTo>
                    <a:pt x="1331" y="3202"/>
                    <a:pt x="1390" y="3189"/>
                    <a:pt x="1453" y="3156"/>
                  </a:cubicBezTo>
                  <a:cubicBezTo>
                    <a:pt x="1430" y="3200"/>
                    <a:pt x="1430" y="3200"/>
                    <a:pt x="1430" y="3200"/>
                  </a:cubicBezTo>
                  <a:cubicBezTo>
                    <a:pt x="1488" y="3185"/>
                    <a:pt x="1512" y="3127"/>
                    <a:pt x="1580" y="3147"/>
                  </a:cubicBezTo>
                  <a:cubicBezTo>
                    <a:pt x="1571" y="3136"/>
                    <a:pt x="1562" y="3124"/>
                    <a:pt x="1552" y="3113"/>
                  </a:cubicBezTo>
                  <a:cubicBezTo>
                    <a:pt x="1579" y="3083"/>
                    <a:pt x="1673" y="3017"/>
                    <a:pt x="1702" y="3007"/>
                  </a:cubicBezTo>
                  <a:cubicBezTo>
                    <a:pt x="1764" y="2985"/>
                    <a:pt x="1829" y="2994"/>
                    <a:pt x="1890" y="2979"/>
                  </a:cubicBezTo>
                  <a:cubicBezTo>
                    <a:pt x="1923" y="2970"/>
                    <a:pt x="2084" y="2992"/>
                    <a:pt x="2102" y="2972"/>
                  </a:cubicBezTo>
                  <a:cubicBezTo>
                    <a:pt x="2146" y="2925"/>
                    <a:pt x="2038" y="2884"/>
                    <a:pt x="2127" y="2834"/>
                  </a:cubicBezTo>
                  <a:cubicBezTo>
                    <a:pt x="2123" y="2855"/>
                    <a:pt x="2133" y="2880"/>
                    <a:pt x="2129" y="2901"/>
                  </a:cubicBezTo>
                  <a:cubicBezTo>
                    <a:pt x="2214" y="2875"/>
                    <a:pt x="2264" y="2916"/>
                    <a:pt x="2316" y="2954"/>
                  </a:cubicBezTo>
                  <a:cubicBezTo>
                    <a:pt x="2382" y="3003"/>
                    <a:pt x="2402" y="2841"/>
                    <a:pt x="2509" y="2899"/>
                  </a:cubicBezTo>
                  <a:cubicBezTo>
                    <a:pt x="2508" y="2910"/>
                    <a:pt x="2490" y="3001"/>
                    <a:pt x="2504" y="3021"/>
                  </a:cubicBezTo>
                  <a:cubicBezTo>
                    <a:pt x="2524" y="3047"/>
                    <a:pt x="2651" y="3104"/>
                    <a:pt x="2672" y="3080"/>
                  </a:cubicBezTo>
                  <a:cubicBezTo>
                    <a:pt x="2688" y="3062"/>
                    <a:pt x="2710" y="2930"/>
                    <a:pt x="2704" y="2915"/>
                  </a:cubicBezTo>
                  <a:cubicBezTo>
                    <a:pt x="2682" y="2859"/>
                    <a:pt x="2664" y="2836"/>
                    <a:pt x="2589" y="2857"/>
                  </a:cubicBezTo>
                  <a:cubicBezTo>
                    <a:pt x="2605" y="2765"/>
                    <a:pt x="2676" y="2739"/>
                    <a:pt x="2614" y="2651"/>
                  </a:cubicBezTo>
                  <a:cubicBezTo>
                    <a:pt x="2579" y="2602"/>
                    <a:pt x="2554" y="2603"/>
                    <a:pt x="2530" y="2545"/>
                  </a:cubicBezTo>
                  <a:cubicBezTo>
                    <a:pt x="2519" y="2520"/>
                    <a:pt x="2412" y="2465"/>
                    <a:pt x="2481" y="2443"/>
                  </a:cubicBezTo>
                  <a:cubicBezTo>
                    <a:pt x="2547" y="2422"/>
                    <a:pt x="2622" y="2308"/>
                    <a:pt x="2653" y="2296"/>
                  </a:cubicBezTo>
                  <a:cubicBezTo>
                    <a:pt x="2702" y="2278"/>
                    <a:pt x="2743" y="2264"/>
                    <a:pt x="2794" y="2262"/>
                  </a:cubicBezTo>
                  <a:cubicBezTo>
                    <a:pt x="2896" y="2259"/>
                    <a:pt x="2939" y="2068"/>
                    <a:pt x="2900" y="1993"/>
                  </a:cubicBezTo>
                  <a:cubicBezTo>
                    <a:pt x="2969" y="1964"/>
                    <a:pt x="3027" y="1974"/>
                    <a:pt x="3107" y="2027"/>
                  </a:cubicBezTo>
                  <a:cubicBezTo>
                    <a:pt x="3137" y="1980"/>
                    <a:pt x="3172" y="1905"/>
                    <a:pt x="3161" y="1836"/>
                  </a:cubicBezTo>
                  <a:cubicBezTo>
                    <a:pt x="3145" y="1738"/>
                    <a:pt x="3066" y="1674"/>
                    <a:pt x="3032" y="1615"/>
                  </a:cubicBezTo>
                  <a:cubicBezTo>
                    <a:pt x="2985" y="1531"/>
                    <a:pt x="2889" y="1636"/>
                    <a:pt x="2877" y="1512"/>
                  </a:cubicBezTo>
                  <a:cubicBezTo>
                    <a:pt x="2870" y="1450"/>
                    <a:pt x="2791" y="1435"/>
                    <a:pt x="2746" y="1429"/>
                  </a:cubicBezTo>
                  <a:cubicBezTo>
                    <a:pt x="2728" y="1428"/>
                    <a:pt x="2577" y="1240"/>
                    <a:pt x="2485" y="1218"/>
                  </a:cubicBezTo>
                  <a:cubicBezTo>
                    <a:pt x="2416" y="1202"/>
                    <a:pt x="2342" y="1070"/>
                    <a:pt x="2323" y="1023"/>
                  </a:cubicBezTo>
                  <a:cubicBezTo>
                    <a:pt x="2305" y="980"/>
                    <a:pt x="2299" y="923"/>
                    <a:pt x="2274" y="885"/>
                  </a:cubicBezTo>
                  <a:cubicBezTo>
                    <a:pt x="2256" y="855"/>
                    <a:pt x="2192" y="855"/>
                    <a:pt x="2189" y="802"/>
                  </a:cubicBezTo>
                  <a:cubicBezTo>
                    <a:pt x="2189" y="804"/>
                    <a:pt x="2244" y="734"/>
                    <a:pt x="2244" y="734"/>
                  </a:cubicBezTo>
                  <a:cubicBezTo>
                    <a:pt x="2264" y="725"/>
                    <a:pt x="2273" y="668"/>
                    <a:pt x="2281" y="641"/>
                  </a:cubicBezTo>
                  <a:cubicBezTo>
                    <a:pt x="2264" y="632"/>
                    <a:pt x="2247" y="624"/>
                    <a:pt x="2231" y="616"/>
                  </a:cubicBezTo>
                  <a:cubicBezTo>
                    <a:pt x="2260" y="558"/>
                    <a:pt x="2114" y="518"/>
                    <a:pt x="2081" y="475"/>
                  </a:cubicBezTo>
                  <a:cubicBezTo>
                    <a:pt x="2040" y="421"/>
                    <a:pt x="1983" y="330"/>
                    <a:pt x="1987" y="250"/>
                  </a:cubicBezTo>
                  <a:lnTo>
                    <a:pt x="2002" y="247"/>
                  </a:ln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202" name="Freeform 18">
              <a:extLst>
                <a:ext uri="{FF2B5EF4-FFF2-40B4-BE49-F238E27FC236}">
                  <a16:creationId xmlns:a16="http://schemas.microsoft.com/office/drawing/2014/main" id="{9ADC20D0-0222-314D-AE22-6BA6C99336A8}"/>
                </a:ext>
              </a:extLst>
            </p:cNvPr>
            <p:cNvSpPr>
              <a:spLocks/>
            </p:cNvSpPr>
            <p:nvPr/>
          </p:nvSpPr>
          <p:spPr bwMode="auto">
            <a:xfrm>
              <a:off x="783" y="2657"/>
              <a:ext cx="263" cy="228"/>
            </a:xfrm>
            <a:custGeom>
              <a:avLst/>
              <a:gdLst>
                <a:gd name="T0" fmla="*/ 658 w 693"/>
                <a:gd name="T1" fmla="*/ 512 h 601"/>
                <a:gd name="T2" fmla="*/ 629 w 693"/>
                <a:gd name="T3" fmla="*/ 460 h 601"/>
                <a:gd name="T4" fmla="*/ 629 w 693"/>
                <a:gd name="T5" fmla="*/ 411 h 601"/>
                <a:gd name="T6" fmla="*/ 693 w 693"/>
                <a:gd name="T7" fmla="*/ 311 h 601"/>
                <a:gd name="T8" fmla="*/ 596 w 693"/>
                <a:gd name="T9" fmla="*/ 217 h 601"/>
                <a:gd name="T10" fmla="*/ 639 w 693"/>
                <a:gd name="T11" fmla="*/ 179 h 601"/>
                <a:gd name="T12" fmla="*/ 620 w 693"/>
                <a:gd name="T13" fmla="*/ 73 h 601"/>
                <a:gd name="T14" fmla="*/ 542 w 693"/>
                <a:gd name="T15" fmla="*/ 49 h 601"/>
                <a:gd name="T16" fmla="*/ 491 w 693"/>
                <a:gd name="T17" fmla="*/ 14 h 601"/>
                <a:gd name="T18" fmla="*/ 426 w 693"/>
                <a:gd name="T19" fmla="*/ 0 h 601"/>
                <a:gd name="T20" fmla="*/ 264 w 693"/>
                <a:gd name="T21" fmla="*/ 92 h 601"/>
                <a:gd name="T22" fmla="*/ 231 w 693"/>
                <a:gd name="T23" fmla="*/ 84 h 601"/>
                <a:gd name="T24" fmla="*/ 172 w 693"/>
                <a:gd name="T25" fmla="*/ 100 h 601"/>
                <a:gd name="T26" fmla="*/ 18 w 693"/>
                <a:gd name="T27" fmla="*/ 70 h 601"/>
                <a:gd name="T28" fmla="*/ 17 w 693"/>
                <a:gd name="T29" fmla="*/ 124 h 601"/>
                <a:gd name="T30" fmla="*/ 125 w 693"/>
                <a:gd name="T31" fmla="*/ 218 h 601"/>
                <a:gd name="T32" fmla="*/ 121 w 693"/>
                <a:gd name="T33" fmla="*/ 301 h 601"/>
                <a:gd name="T34" fmla="*/ 227 w 693"/>
                <a:gd name="T35" fmla="*/ 436 h 601"/>
                <a:gd name="T36" fmla="*/ 263 w 693"/>
                <a:gd name="T37" fmla="*/ 496 h 601"/>
                <a:gd name="T38" fmla="*/ 314 w 693"/>
                <a:gd name="T39" fmla="*/ 450 h 601"/>
                <a:gd name="T40" fmla="*/ 427 w 693"/>
                <a:gd name="T41" fmla="*/ 495 h 601"/>
                <a:gd name="T42" fmla="*/ 480 w 693"/>
                <a:gd name="T43" fmla="*/ 517 h 601"/>
                <a:gd name="T44" fmla="*/ 594 w 693"/>
                <a:gd name="T45" fmla="*/ 561 h 601"/>
                <a:gd name="T46" fmla="*/ 661 w 693"/>
                <a:gd name="T47" fmla="*/ 533 h 601"/>
                <a:gd name="T48" fmla="*/ 658 w 693"/>
                <a:gd name="T49" fmla="*/ 51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3" h="601">
                  <a:moveTo>
                    <a:pt x="658" y="512"/>
                  </a:moveTo>
                  <a:cubicBezTo>
                    <a:pt x="629" y="460"/>
                    <a:pt x="629" y="460"/>
                    <a:pt x="629" y="460"/>
                  </a:cubicBezTo>
                  <a:cubicBezTo>
                    <a:pt x="629" y="411"/>
                    <a:pt x="629" y="411"/>
                    <a:pt x="629" y="411"/>
                  </a:cubicBezTo>
                  <a:cubicBezTo>
                    <a:pt x="629" y="411"/>
                    <a:pt x="693" y="355"/>
                    <a:pt x="693" y="311"/>
                  </a:cubicBezTo>
                  <a:cubicBezTo>
                    <a:pt x="693" y="268"/>
                    <a:pt x="596" y="217"/>
                    <a:pt x="596" y="217"/>
                  </a:cubicBezTo>
                  <a:cubicBezTo>
                    <a:pt x="639" y="179"/>
                    <a:pt x="639" y="179"/>
                    <a:pt x="639" y="179"/>
                  </a:cubicBezTo>
                  <a:cubicBezTo>
                    <a:pt x="620" y="73"/>
                    <a:pt x="620" y="73"/>
                    <a:pt x="620" y="73"/>
                  </a:cubicBezTo>
                  <a:cubicBezTo>
                    <a:pt x="542" y="49"/>
                    <a:pt x="542" y="49"/>
                    <a:pt x="542" y="49"/>
                  </a:cubicBezTo>
                  <a:cubicBezTo>
                    <a:pt x="491" y="14"/>
                    <a:pt x="491" y="14"/>
                    <a:pt x="491" y="14"/>
                  </a:cubicBezTo>
                  <a:cubicBezTo>
                    <a:pt x="426" y="0"/>
                    <a:pt x="426" y="0"/>
                    <a:pt x="426" y="0"/>
                  </a:cubicBezTo>
                  <a:cubicBezTo>
                    <a:pt x="264" y="92"/>
                    <a:pt x="264" y="92"/>
                    <a:pt x="264" y="92"/>
                  </a:cubicBezTo>
                  <a:cubicBezTo>
                    <a:pt x="231" y="84"/>
                    <a:pt x="231" y="84"/>
                    <a:pt x="231" y="84"/>
                  </a:cubicBezTo>
                  <a:cubicBezTo>
                    <a:pt x="231" y="84"/>
                    <a:pt x="193" y="109"/>
                    <a:pt x="172" y="100"/>
                  </a:cubicBezTo>
                  <a:cubicBezTo>
                    <a:pt x="161" y="96"/>
                    <a:pt x="69" y="81"/>
                    <a:pt x="18" y="70"/>
                  </a:cubicBezTo>
                  <a:cubicBezTo>
                    <a:pt x="17" y="86"/>
                    <a:pt x="21" y="104"/>
                    <a:pt x="17" y="124"/>
                  </a:cubicBezTo>
                  <a:cubicBezTo>
                    <a:pt x="0" y="211"/>
                    <a:pt x="71" y="153"/>
                    <a:pt x="125" y="218"/>
                  </a:cubicBezTo>
                  <a:cubicBezTo>
                    <a:pt x="147" y="244"/>
                    <a:pt x="145" y="284"/>
                    <a:pt x="121" y="301"/>
                  </a:cubicBezTo>
                  <a:cubicBezTo>
                    <a:pt x="137" y="290"/>
                    <a:pt x="231" y="442"/>
                    <a:pt x="227" y="436"/>
                  </a:cubicBezTo>
                  <a:cubicBezTo>
                    <a:pt x="250" y="465"/>
                    <a:pt x="208" y="487"/>
                    <a:pt x="263" y="496"/>
                  </a:cubicBezTo>
                  <a:cubicBezTo>
                    <a:pt x="311" y="504"/>
                    <a:pt x="326" y="502"/>
                    <a:pt x="314" y="450"/>
                  </a:cubicBezTo>
                  <a:cubicBezTo>
                    <a:pt x="344" y="452"/>
                    <a:pt x="426" y="459"/>
                    <a:pt x="427" y="495"/>
                  </a:cubicBezTo>
                  <a:cubicBezTo>
                    <a:pt x="431" y="601"/>
                    <a:pt x="455" y="517"/>
                    <a:pt x="480" y="517"/>
                  </a:cubicBezTo>
                  <a:cubicBezTo>
                    <a:pt x="493" y="517"/>
                    <a:pt x="562" y="558"/>
                    <a:pt x="594" y="561"/>
                  </a:cubicBezTo>
                  <a:cubicBezTo>
                    <a:pt x="623" y="563"/>
                    <a:pt x="624" y="538"/>
                    <a:pt x="661" y="533"/>
                  </a:cubicBezTo>
                  <a:cubicBezTo>
                    <a:pt x="667" y="532"/>
                    <a:pt x="651" y="519"/>
                    <a:pt x="658" y="512"/>
                  </a:cubicBez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203" name="Freeform 19">
              <a:extLst>
                <a:ext uri="{FF2B5EF4-FFF2-40B4-BE49-F238E27FC236}">
                  <a16:creationId xmlns:a16="http://schemas.microsoft.com/office/drawing/2014/main" id="{46324437-49F8-CB4F-9ACD-4CD7E1FD370B}"/>
                </a:ext>
              </a:extLst>
            </p:cNvPr>
            <p:cNvSpPr>
              <a:spLocks/>
            </p:cNvSpPr>
            <p:nvPr/>
          </p:nvSpPr>
          <p:spPr bwMode="auto">
            <a:xfrm>
              <a:off x="1156" y="1916"/>
              <a:ext cx="597" cy="860"/>
            </a:xfrm>
            <a:custGeom>
              <a:avLst/>
              <a:gdLst>
                <a:gd name="T0" fmla="*/ 471 w 1575"/>
                <a:gd name="T1" fmla="*/ 2117 h 2271"/>
                <a:gd name="T2" fmla="*/ 497 w 1575"/>
                <a:gd name="T3" fmla="*/ 2039 h 2271"/>
                <a:gd name="T4" fmla="*/ 583 w 1575"/>
                <a:gd name="T5" fmla="*/ 2127 h 2271"/>
                <a:gd name="T6" fmla="*/ 628 w 1575"/>
                <a:gd name="T7" fmla="*/ 2237 h 2271"/>
                <a:gd name="T8" fmla="*/ 697 w 1575"/>
                <a:gd name="T9" fmla="*/ 2210 h 2271"/>
                <a:gd name="T10" fmla="*/ 753 w 1575"/>
                <a:gd name="T11" fmla="*/ 2143 h 2271"/>
                <a:gd name="T12" fmla="*/ 812 w 1575"/>
                <a:gd name="T13" fmla="*/ 2101 h 2271"/>
                <a:gd name="T14" fmla="*/ 828 w 1575"/>
                <a:gd name="T15" fmla="*/ 2084 h 2271"/>
                <a:gd name="T16" fmla="*/ 852 w 1575"/>
                <a:gd name="T17" fmla="*/ 1872 h 2271"/>
                <a:gd name="T18" fmla="*/ 768 w 1575"/>
                <a:gd name="T19" fmla="*/ 1584 h 2271"/>
                <a:gd name="T20" fmla="*/ 876 w 1575"/>
                <a:gd name="T21" fmla="*/ 1560 h 2271"/>
                <a:gd name="T22" fmla="*/ 1008 w 1575"/>
                <a:gd name="T23" fmla="*/ 1512 h 2271"/>
                <a:gd name="T24" fmla="*/ 1122 w 1575"/>
                <a:gd name="T25" fmla="*/ 1548 h 2271"/>
                <a:gd name="T26" fmla="*/ 1176 w 1575"/>
                <a:gd name="T27" fmla="*/ 1440 h 2271"/>
                <a:gd name="T28" fmla="*/ 1278 w 1575"/>
                <a:gd name="T29" fmla="*/ 1230 h 2271"/>
                <a:gd name="T30" fmla="*/ 1459 w 1575"/>
                <a:gd name="T31" fmla="*/ 1153 h 2271"/>
                <a:gd name="T32" fmla="*/ 1455 w 1575"/>
                <a:gd name="T33" fmla="*/ 1036 h 2271"/>
                <a:gd name="T34" fmla="*/ 1466 w 1575"/>
                <a:gd name="T35" fmla="*/ 987 h 2271"/>
                <a:gd name="T36" fmla="*/ 1403 w 1575"/>
                <a:gd name="T37" fmla="*/ 1025 h 2271"/>
                <a:gd name="T38" fmla="*/ 1403 w 1575"/>
                <a:gd name="T39" fmla="*/ 836 h 2271"/>
                <a:gd name="T40" fmla="*/ 1455 w 1575"/>
                <a:gd name="T41" fmla="*/ 778 h 2271"/>
                <a:gd name="T42" fmla="*/ 1455 w 1575"/>
                <a:gd name="T43" fmla="*/ 655 h 2271"/>
                <a:gd name="T44" fmla="*/ 1515 w 1575"/>
                <a:gd name="T45" fmla="*/ 597 h 2271"/>
                <a:gd name="T46" fmla="*/ 1567 w 1575"/>
                <a:gd name="T47" fmla="*/ 480 h 2271"/>
                <a:gd name="T48" fmla="*/ 1381 w 1575"/>
                <a:gd name="T49" fmla="*/ 244 h 2271"/>
                <a:gd name="T50" fmla="*/ 1260 w 1575"/>
                <a:gd name="T51" fmla="*/ 304 h 2271"/>
                <a:gd name="T52" fmla="*/ 1153 w 1575"/>
                <a:gd name="T53" fmla="*/ 312 h 2271"/>
                <a:gd name="T54" fmla="*/ 1219 w 1575"/>
                <a:gd name="T55" fmla="*/ 203 h 2271"/>
                <a:gd name="T56" fmla="*/ 1238 w 1575"/>
                <a:gd name="T57" fmla="*/ 79 h 2271"/>
                <a:gd name="T58" fmla="*/ 1115 w 1575"/>
                <a:gd name="T59" fmla="*/ 0 h 2271"/>
                <a:gd name="T60" fmla="*/ 1011 w 1575"/>
                <a:gd name="T61" fmla="*/ 126 h 2271"/>
                <a:gd name="T62" fmla="*/ 830 w 1575"/>
                <a:gd name="T63" fmla="*/ 143 h 2271"/>
                <a:gd name="T64" fmla="*/ 767 w 1575"/>
                <a:gd name="T65" fmla="*/ 266 h 2271"/>
                <a:gd name="T66" fmla="*/ 537 w 1575"/>
                <a:gd name="T67" fmla="*/ 362 h 2271"/>
                <a:gd name="T68" fmla="*/ 622 w 1575"/>
                <a:gd name="T69" fmla="*/ 381 h 2271"/>
                <a:gd name="T70" fmla="*/ 619 w 1575"/>
                <a:gd name="T71" fmla="*/ 545 h 2271"/>
                <a:gd name="T72" fmla="*/ 507 w 1575"/>
                <a:gd name="T73" fmla="*/ 619 h 2271"/>
                <a:gd name="T74" fmla="*/ 334 w 1575"/>
                <a:gd name="T75" fmla="*/ 759 h 2271"/>
                <a:gd name="T76" fmla="*/ 265 w 1575"/>
                <a:gd name="T77" fmla="*/ 904 h 2271"/>
                <a:gd name="T78" fmla="*/ 235 w 1575"/>
                <a:gd name="T79" fmla="*/ 949 h 2271"/>
                <a:gd name="T80" fmla="*/ 163 w 1575"/>
                <a:gd name="T81" fmla="*/ 1079 h 2271"/>
                <a:gd name="T82" fmla="*/ 217 w 1575"/>
                <a:gd name="T83" fmla="*/ 1355 h 2271"/>
                <a:gd name="T84" fmla="*/ 68 w 1575"/>
                <a:gd name="T85" fmla="*/ 1468 h 2271"/>
                <a:gd name="T86" fmla="*/ 95 w 1575"/>
                <a:gd name="T87" fmla="*/ 1517 h 2271"/>
                <a:gd name="T88" fmla="*/ 0 w 1575"/>
                <a:gd name="T89" fmla="*/ 1566 h 2271"/>
                <a:gd name="T90" fmla="*/ 273 w 1575"/>
                <a:gd name="T91" fmla="*/ 1587 h 2271"/>
                <a:gd name="T92" fmla="*/ 352 w 1575"/>
                <a:gd name="T93" fmla="*/ 1771 h 2271"/>
                <a:gd name="T94" fmla="*/ 352 w 1575"/>
                <a:gd name="T95" fmla="*/ 1947 h 2271"/>
                <a:gd name="T96" fmla="*/ 423 w 1575"/>
                <a:gd name="T97" fmla="*/ 2063 h 2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75" h="2271">
                  <a:moveTo>
                    <a:pt x="423" y="2063"/>
                  </a:moveTo>
                  <a:cubicBezTo>
                    <a:pt x="471" y="2117"/>
                    <a:pt x="471" y="2117"/>
                    <a:pt x="471" y="2117"/>
                  </a:cubicBezTo>
                  <a:cubicBezTo>
                    <a:pt x="511" y="2138"/>
                    <a:pt x="511" y="2138"/>
                    <a:pt x="511" y="2138"/>
                  </a:cubicBezTo>
                  <a:cubicBezTo>
                    <a:pt x="497" y="2039"/>
                    <a:pt x="497" y="2039"/>
                    <a:pt x="497" y="2039"/>
                  </a:cubicBezTo>
                  <a:cubicBezTo>
                    <a:pt x="553" y="2029"/>
                    <a:pt x="553" y="2029"/>
                    <a:pt x="553" y="2029"/>
                  </a:cubicBezTo>
                  <a:cubicBezTo>
                    <a:pt x="583" y="2127"/>
                    <a:pt x="583" y="2127"/>
                    <a:pt x="583" y="2127"/>
                  </a:cubicBezTo>
                  <a:cubicBezTo>
                    <a:pt x="681" y="2138"/>
                    <a:pt x="681" y="2138"/>
                    <a:pt x="681" y="2138"/>
                  </a:cubicBezTo>
                  <a:cubicBezTo>
                    <a:pt x="628" y="2237"/>
                    <a:pt x="628" y="2237"/>
                    <a:pt x="628" y="2237"/>
                  </a:cubicBezTo>
                  <a:cubicBezTo>
                    <a:pt x="660" y="2271"/>
                    <a:pt x="660" y="2271"/>
                    <a:pt x="660" y="2271"/>
                  </a:cubicBezTo>
                  <a:cubicBezTo>
                    <a:pt x="697" y="2210"/>
                    <a:pt x="697" y="2210"/>
                    <a:pt x="697" y="2210"/>
                  </a:cubicBezTo>
                  <a:cubicBezTo>
                    <a:pt x="724" y="2202"/>
                    <a:pt x="724" y="2202"/>
                    <a:pt x="724" y="2202"/>
                  </a:cubicBezTo>
                  <a:cubicBezTo>
                    <a:pt x="724" y="2202"/>
                    <a:pt x="724" y="2138"/>
                    <a:pt x="753" y="2143"/>
                  </a:cubicBezTo>
                  <a:cubicBezTo>
                    <a:pt x="783" y="2149"/>
                    <a:pt x="788" y="2159"/>
                    <a:pt x="836" y="2146"/>
                  </a:cubicBezTo>
                  <a:cubicBezTo>
                    <a:pt x="884" y="2133"/>
                    <a:pt x="812" y="2101"/>
                    <a:pt x="812" y="2101"/>
                  </a:cubicBezTo>
                  <a:cubicBezTo>
                    <a:pt x="828" y="2084"/>
                    <a:pt x="828" y="2084"/>
                    <a:pt x="828" y="2084"/>
                  </a:cubicBezTo>
                  <a:cubicBezTo>
                    <a:pt x="828" y="2084"/>
                    <a:pt x="828" y="2084"/>
                    <a:pt x="828" y="2084"/>
                  </a:cubicBezTo>
                  <a:cubicBezTo>
                    <a:pt x="822" y="2078"/>
                    <a:pt x="814" y="2066"/>
                    <a:pt x="810" y="2040"/>
                  </a:cubicBezTo>
                  <a:cubicBezTo>
                    <a:pt x="804" y="1998"/>
                    <a:pt x="864" y="1938"/>
                    <a:pt x="852" y="1872"/>
                  </a:cubicBezTo>
                  <a:cubicBezTo>
                    <a:pt x="840" y="1806"/>
                    <a:pt x="810" y="1812"/>
                    <a:pt x="810" y="1812"/>
                  </a:cubicBezTo>
                  <a:cubicBezTo>
                    <a:pt x="768" y="1584"/>
                    <a:pt x="768" y="1584"/>
                    <a:pt x="768" y="1584"/>
                  </a:cubicBezTo>
                  <a:cubicBezTo>
                    <a:pt x="852" y="1530"/>
                    <a:pt x="852" y="1530"/>
                    <a:pt x="852" y="1530"/>
                  </a:cubicBezTo>
                  <a:cubicBezTo>
                    <a:pt x="876" y="1560"/>
                    <a:pt x="876" y="1560"/>
                    <a:pt x="876" y="1560"/>
                  </a:cubicBezTo>
                  <a:cubicBezTo>
                    <a:pt x="918" y="1500"/>
                    <a:pt x="918" y="1500"/>
                    <a:pt x="918" y="1500"/>
                  </a:cubicBezTo>
                  <a:cubicBezTo>
                    <a:pt x="1008" y="1512"/>
                    <a:pt x="1008" y="1512"/>
                    <a:pt x="1008" y="1512"/>
                  </a:cubicBezTo>
                  <a:cubicBezTo>
                    <a:pt x="1062" y="1566"/>
                    <a:pt x="1062" y="1566"/>
                    <a:pt x="1062" y="1566"/>
                  </a:cubicBezTo>
                  <a:cubicBezTo>
                    <a:pt x="1122" y="1548"/>
                    <a:pt x="1122" y="1548"/>
                    <a:pt x="1122" y="1548"/>
                  </a:cubicBezTo>
                  <a:cubicBezTo>
                    <a:pt x="1104" y="1422"/>
                    <a:pt x="1104" y="1422"/>
                    <a:pt x="1104" y="1422"/>
                  </a:cubicBezTo>
                  <a:cubicBezTo>
                    <a:pt x="1176" y="1440"/>
                    <a:pt x="1176" y="1440"/>
                    <a:pt x="1176" y="1440"/>
                  </a:cubicBezTo>
                  <a:cubicBezTo>
                    <a:pt x="1248" y="1350"/>
                    <a:pt x="1248" y="1350"/>
                    <a:pt x="1248" y="1350"/>
                  </a:cubicBezTo>
                  <a:cubicBezTo>
                    <a:pt x="1278" y="1230"/>
                    <a:pt x="1278" y="1230"/>
                    <a:pt x="1278" y="1230"/>
                  </a:cubicBezTo>
                  <a:cubicBezTo>
                    <a:pt x="1278" y="1230"/>
                    <a:pt x="1356" y="1266"/>
                    <a:pt x="1398" y="1236"/>
                  </a:cubicBezTo>
                  <a:cubicBezTo>
                    <a:pt x="1421" y="1220"/>
                    <a:pt x="1440" y="1184"/>
                    <a:pt x="1459" y="1153"/>
                  </a:cubicBezTo>
                  <a:cubicBezTo>
                    <a:pt x="1460" y="1120"/>
                    <a:pt x="1462" y="1086"/>
                    <a:pt x="1460" y="1077"/>
                  </a:cubicBezTo>
                  <a:cubicBezTo>
                    <a:pt x="1458" y="1058"/>
                    <a:pt x="1455" y="1036"/>
                    <a:pt x="1455" y="1036"/>
                  </a:cubicBezTo>
                  <a:cubicBezTo>
                    <a:pt x="1490" y="1030"/>
                    <a:pt x="1490" y="1030"/>
                    <a:pt x="1490" y="1030"/>
                  </a:cubicBezTo>
                  <a:cubicBezTo>
                    <a:pt x="1466" y="987"/>
                    <a:pt x="1466" y="987"/>
                    <a:pt x="1466" y="987"/>
                  </a:cubicBezTo>
                  <a:cubicBezTo>
                    <a:pt x="1414" y="995"/>
                    <a:pt x="1414" y="995"/>
                    <a:pt x="1414" y="995"/>
                  </a:cubicBezTo>
                  <a:cubicBezTo>
                    <a:pt x="1403" y="1025"/>
                    <a:pt x="1403" y="1025"/>
                    <a:pt x="1403" y="1025"/>
                  </a:cubicBezTo>
                  <a:cubicBezTo>
                    <a:pt x="1342" y="1019"/>
                    <a:pt x="1342" y="1019"/>
                    <a:pt x="1342" y="1019"/>
                  </a:cubicBezTo>
                  <a:cubicBezTo>
                    <a:pt x="1403" y="836"/>
                    <a:pt x="1403" y="836"/>
                    <a:pt x="1403" y="836"/>
                  </a:cubicBezTo>
                  <a:cubicBezTo>
                    <a:pt x="1458" y="825"/>
                    <a:pt x="1458" y="825"/>
                    <a:pt x="1458" y="825"/>
                  </a:cubicBezTo>
                  <a:cubicBezTo>
                    <a:pt x="1455" y="778"/>
                    <a:pt x="1455" y="778"/>
                    <a:pt x="1455" y="778"/>
                  </a:cubicBezTo>
                  <a:cubicBezTo>
                    <a:pt x="1414" y="748"/>
                    <a:pt x="1414" y="748"/>
                    <a:pt x="1414" y="748"/>
                  </a:cubicBezTo>
                  <a:cubicBezTo>
                    <a:pt x="1414" y="748"/>
                    <a:pt x="1436" y="674"/>
                    <a:pt x="1455" y="655"/>
                  </a:cubicBezTo>
                  <a:cubicBezTo>
                    <a:pt x="1474" y="636"/>
                    <a:pt x="1570" y="674"/>
                    <a:pt x="1573" y="652"/>
                  </a:cubicBezTo>
                  <a:cubicBezTo>
                    <a:pt x="1575" y="630"/>
                    <a:pt x="1515" y="597"/>
                    <a:pt x="1515" y="597"/>
                  </a:cubicBezTo>
                  <a:cubicBezTo>
                    <a:pt x="1570" y="537"/>
                    <a:pt x="1570" y="537"/>
                    <a:pt x="1570" y="537"/>
                  </a:cubicBezTo>
                  <a:cubicBezTo>
                    <a:pt x="1567" y="480"/>
                    <a:pt x="1567" y="480"/>
                    <a:pt x="1567" y="480"/>
                  </a:cubicBezTo>
                  <a:cubicBezTo>
                    <a:pt x="1419" y="367"/>
                    <a:pt x="1419" y="367"/>
                    <a:pt x="1419" y="367"/>
                  </a:cubicBezTo>
                  <a:cubicBezTo>
                    <a:pt x="1381" y="244"/>
                    <a:pt x="1381" y="244"/>
                    <a:pt x="1381" y="244"/>
                  </a:cubicBezTo>
                  <a:cubicBezTo>
                    <a:pt x="1315" y="247"/>
                    <a:pt x="1315" y="247"/>
                    <a:pt x="1315" y="247"/>
                  </a:cubicBezTo>
                  <a:cubicBezTo>
                    <a:pt x="1260" y="304"/>
                    <a:pt x="1260" y="304"/>
                    <a:pt x="1260" y="304"/>
                  </a:cubicBezTo>
                  <a:cubicBezTo>
                    <a:pt x="1260" y="304"/>
                    <a:pt x="1290" y="348"/>
                    <a:pt x="1258" y="362"/>
                  </a:cubicBezTo>
                  <a:cubicBezTo>
                    <a:pt x="1225" y="375"/>
                    <a:pt x="1173" y="345"/>
                    <a:pt x="1153" y="312"/>
                  </a:cubicBezTo>
                  <a:cubicBezTo>
                    <a:pt x="1134" y="280"/>
                    <a:pt x="1203" y="247"/>
                    <a:pt x="1203" y="247"/>
                  </a:cubicBezTo>
                  <a:cubicBezTo>
                    <a:pt x="1219" y="203"/>
                    <a:pt x="1219" y="203"/>
                    <a:pt x="1219" y="203"/>
                  </a:cubicBezTo>
                  <a:cubicBezTo>
                    <a:pt x="1219" y="203"/>
                    <a:pt x="1181" y="137"/>
                    <a:pt x="1181" y="112"/>
                  </a:cubicBezTo>
                  <a:cubicBezTo>
                    <a:pt x="1181" y="88"/>
                    <a:pt x="1238" y="79"/>
                    <a:pt x="1238" y="79"/>
                  </a:cubicBezTo>
                  <a:cubicBezTo>
                    <a:pt x="1203" y="19"/>
                    <a:pt x="1203" y="19"/>
                    <a:pt x="1203" y="19"/>
                  </a:cubicBezTo>
                  <a:cubicBezTo>
                    <a:pt x="1115" y="0"/>
                    <a:pt x="1115" y="0"/>
                    <a:pt x="1115" y="0"/>
                  </a:cubicBezTo>
                  <a:cubicBezTo>
                    <a:pt x="1030" y="38"/>
                    <a:pt x="1030" y="38"/>
                    <a:pt x="1030" y="38"/>
                  </a:cubicBezTo>
                  <a:cubicBezTo>
                    <a:pt x="1011" y="126"/>
                    <a:pt x="1011" y="126"/>
                    <a:pt x="1011" y="126"/>
                  </a:cubicBezTo>
                  <a:cubicBezTo>
                    <a:pt x="879" y="206"/>
                    <a:pt x="879" y="206"/>
                    <a:pt x="879" y="206"/>
                  </a:cubicBezTo>
                  <a:cubicBezTo>
                    <a:pt x="830" y="143"/>
                    <a:pt x="830" y="143"/>
                    <a:pt x="830" y="143"/>
                  </a:cubicBezTo>
                  <a:cubicBezTo>
                    <a:pt x="756" y="164"/>
                    <a:pt x="756" y="164"/>
                    <a:pt x="756" y="164"/>
                  </a:cubicBezTo>
                  <a:cubicBezTo>
                    <a:pt x="767" y="266"/>
                    <a:pt x="767" y="266"/>
                    <a:pt x="767" y="266"/>
                  </a:cubicBezTo>
                  <a:cubicBezTo>
                    <a:pt x="622" y="266"/>
                    <a:pt x="622" y="266"/>
                    <a:pt x="622" y="266"/>
                  </a:cubicBezTo>
                  <a:cubicBezTo>
                    <a:pt x="537" y="362"/>
                    <a:pt x="537" y="362"/>
                    <a:pt x="537" y="362"/>
                  </a:cubicBezTo>
                  <a:cubicBezTo>
                    <a:pt x="553" y="400"/>
                    <a:pt x="553" y="400"/>
                    <a:pt x="553" y="400"/>
                  </a:cubicBezTo>
                  <a:cubicBezTo>
                    <a:pt x="622" y="381"/>
                    <a:pt x="622" y="381"/>
                    <a:pt x="622" y="381"/>
                  </a:cubicBezTo>
                  <a:cubicBezTo>
                    <a:pt x="622" y="381"/>
                    <a:pt x="652" y="395"/>
                    <a:pt x="652" y="447"/>
                  </a:cubicBezTo>
                  <a:cubicBezTo>
                    <a:pt x="652" y="499"/>
                    <a:pt x="619" y="545"/>
                    <a:pt x="619" y="545"/>
                  </a:cubicBezTo>
                  <a:cubicBezTo>
                    <a:pt x="509" y="559"/>
                    <a:pt x="509" y="559"/>
                    <a:pt x="509" y="559"/>
                  </a:cubicBezTo>
                  <a:cubicBezTo>
                    <a:pt x="507" y="619"/>
                    <a:pt x="507" y="619"/>
                    <a:pt x="507" y="619"/>
                  </a:cubicBezTo>
                  <a:cubicBezTo>
                    <a:pt x="419" y="767"/>
                    <a:pt x="419" y="767"/>
                    <a:pt x="419" y="767"/>
                  </a:cubicBezTo>
                  <a:cubicBezTo>
                    <a:pt x="334" y="759"/>
                    <a:pt x="334" y="759"/>
                    <a:pt x="334" y="759"/>
                  </a:cubicBezTo>
                  <a:cubicBezTo>
                    <a:pt x="252" y="855"/>
                    <a:pt x="252" y="855"/>
                    <a:pt x="252" y="855"/>
                  </a:cubicBezTo>
                  <a:cubicBezTo>
                    <a:pt x="265" y="904"/>
                    <a:pt x="265" y="904"/>
                    <a:pt x="265" y="904"/>
                  </a:cubicBezTo>
                  <a:cubicBezTo>
                    <a:pt x="234" y="949"/>
                    <a:pt x="234" y="949"/>
                    <a:pt x="234" y="949"/>
                  </a:cubicBezTo>
                  <a:cubicBezTo>
                    <a:pt x="235" y="949"/>
                    <a:pt x="235" y="949"/>
                    <a:pt x="235" y="949"/>
                  </a:cubicBezTo>
                  <a:cubicBezTo>
                    <a:pt x="241" y="1103"/>
                    <a:pt x="241" y="1103"/>
                    <a:pt x="241" y="1103"/>
                  </a:cubicBezTo>
                  <a:cubicBezTo>
                    <a:pt x="163" y="1079"/>
                    <a:pt x="163" y="1079"/>
                    <a:pt x="163" y="1079"/>
                  </a:cubicBezTo>
                  <a:cubicBezTo>
                    <a:pt x="163" y="1079"/>
                    <a:pt x="125" y="1166"/>
                    <a:pt x="144" y="1222"/>
                  </a:cubicBezTo>
                  <a:cubicBezTo>
                    <a:pt x="163" y="1279"/>
                    <a:pt x="225" y="1325"/>
                    <a:pt x="217" y="1355"/>
                  </a:cubicBezTo>
                  <a:cubicBezTo>
                    <a:pt x="208" y="1384"/>
                    <a:pt x="141" y="1401"/>
                    <a:pt x="141" y="1401"/>
                  </a:cubicBezTo>
                  <a:cubicBezTo>
                    <a:pt x="68" y="1468"/>
                    <a:pt x="68" y="1468"/>
                    <a:pt x="68" y="1468"/>
                  </a:cubicBezTo>
                  <a:cubicBezTo>
                    <a:pt x="106" y="1487"/>
                    <a:pt x="106" y="1487"/>
                    <a:pt x="106" y="1487"/>
                  </a:cubicBezTo>
                  <a:cubicBezTo>
                    <a:pt x="95" y="1517"/>
                    <a:pt x="95" y="1517"/>
                    <a:pt x="95" y="1517"/>
                  </a:cubicBezTo>
                  <a:cubicBezTo>
                    <a:pt x="38" y="1512"/>
                    <a:pt x="38" y="1512"/>
                    <a:pt x="38" y="1512"/>
                  </a:cubicBezTo>
                  <a:cubicBezTo>
                    <a:pt x="0" y="1566"/>
                    <a:pt x="0" y="1566"/>
                    <a:pt x="0" y="1566"/>
                  </a:cubicBezTo>
                  <a:cubicBezTo>
                    <a:pt x="46" y="1649"/>
                    <a:pt x="46" y="1649"/>
                    <a:pt x="46" y="1649"/>
                  </a:cubicBezTo>
                  <a:cubicBezTo>
                    <a:pt x="273" y="1587"/>
                    <a:pt x="273" y="1587"/>
                    <a:pt x="273" y="1587"/>
                  </a:cubicBezTo>
                  <a:cubicBezTo>
                    <a:pt x="273" y="1587"/>
                    <a:pt x="357" y="1652"/>
                    <a:pt x="354" y="1687"/>
                  </a:cubicBezTo>
                  <a:cubicBezTo>
                    <a:pt x="352" y="1722"/>
                    <a:pt x="352" y="1771"/>
                    <a:pt x="352" y="1771"/>
                  </a:cubicBezTo>
                  <a:cubicBezTo>
                    <a:pt x="427" y="1874"/>
                    <a:pt x="427" y="1874"/>
                    <a:pt x="427" y="1874"/>
                  </a:cubicBezTo>
                  <a:cubicBezTo>
                    <a:pt x="352" y="1947"/>
                    <a:pt x="352" y="1947"/>
                    <a:pt x="352" y="1947"/>
                  </a:cubicBezTo>
                  <a:cubicBezTo>
                    <a:pt x="401" y="2065"/>
                    <a:pt x="401" y="2065"/>
                    <a:pt x="401" y="2065"/>
                  </a:cubicBezTo>
                  <a:lnTo>
                    <a:pt x="423" y="2063"/>
                  </a:ln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204" name="Freeform 20">
              <a:extLst>
                <a:ext uri="{FF2B5EF4-FFF2-40B4-BE49-F238E27FC236}">
                  <a16:creationId xmlns:a16="http://schemas.microsoft.com/office/drawing/2014/main" id="{87BC4E9D-C167-F74E-B470-6BB07DAF9F01}"/>
                </a:ext>
              </a:extLst>
            </p:cNvPr>
            <p:cNvSpPr>
              <a:spLocks/>
            </p:cNvSpPr>
            <p:nvPr/>
          </p:nvSpPr>
          <p:spPr bwMode="auto">
            <a:xfrm>
              <a:off x="746" y="2182"/>
              <a:ext cx="577" cy="752"/>
            </a:xfrm>
            <a:custGeom>
              <a:avLst/>
              <a:gdLst>
                <a:gd name="T0" fmla="*/ 1471 w 1522"/>
                <a:gd name="T1" fmla="*/ 1363 h 1984"/>
                <a:gd name="T2" fmla="*/ 1435 w 1522"/>
                <a:gd name="T3" fmla="*/ 1244 h 1984"/>
                <a:gd name="T4" fmla="*/ 1435 w 1522"/>
                <a:gd name="T5" fmla="*/ 1068 h 1984"/>
                <a:gd name="T6" fmla="*/ 1356 w 1522"/>
                <a:gd name="T7" fmla="*/ 884 h 1984"/>
                <a:gd name="T8" fmla="*/ 1083 w 1522"/>
                <a:gd name="T9" fmla="*/ 863 h 1984"/>
                <a:gd name="T10" fmla="*/ 1178 w 1522"/>
                <a:gd name="T11" fmla="*/ 814 h 1984"/>
                <a:gd name="T12" fmla="*/ 1151 w 1522"/>
                <a:gd name="T13" fmla="*/ 765 h 1984"/>
                <a:gd name="T14" fmla="*/ 1300 w 1522"/>
                <a:gd name="T15" fmla="*/ 652 h 1984"/>
                <a:gd name="T16" fmla="*/ 1246 w 1522"/>
                <a:gd name="T17" fmla="*/ 376 h 1984"/>
                <a:gd name="T18" fmla="*/ 1318 w 1522"/>
                <a:gd name="T19" fmla="*/ 246 h 1984"/>
                <a:gd name="T20" fmla="*/ 1218 w 1522"/>
                <a:gd name="T21" fmla="*/ 90 h 1984"/>
                <a:gd name="T22" fmla="*/ 1143 w 1522"/>
                <a:gd name="T23" fmla="*/ 0 h 1984"/>
                <a:gd name="T24" fmla="*/ 1091 w 1522"/>
                <a:gd name="T25" fmla="*/ 84 h 1984"/>
                <a:gd name="T26" fmla="*/ 1016 w 1522"/>
                <a:gd name="T27" fmla="*/ 154 h 1984"/>
                <a:gd name="T28" fmla="*/ 846 w 1522"/>
                <a:gd name="T29" fmla="*/ 265 h 1984"/>
                <a:gd name="T30" fmla="*/ 724 w 1522"/>
                <a:gd name="T31" fmla="*/ 265 h 1984"/>
                <a:gd name="T32" fmla="*/ 532 w 1522"/>
                <a:gd name="T33" fmla="*/ 441 h 1984"/>
                <a:gd name="T34" fmla="*/ 429 w 1522"/>
                <a:gd name="T35" fmla="*/ 422 h 1984"/>
                <a:gd name="T36" fmla="*/ 408 w 1522"/>
                <a:gd name="T37" fmla="*/ 549 h 1984"/>
                <a:gd name="T38" fmla="*/ 205 w 1522"/>
                <a:gd name="T39" fmla="*/ 499 h 1984"/>
                <a:gd name="T40" fmla="*/ 178 w 1522"/>
                <a:gd name="T41" fmla="*/ 513 h 1984"/>
                <a:gd name="T42" fmla="*/ 53 w 1522"/>
                <a:gd name="T43" fmla="*/ 648 h 1984"/>
                <a:gd name="T44" fmla="*/ 145 w 1522"/>
                <a:gd name="T45" fmla="*/ 1056 h 1984"/>
                <a:gd name="T46" fmla="*/ 130 w 1522"/>
                <a:gd name="T47" fmla="*/ 1290 h 1984"/>
                <a:gd name="T48" fmla="*/ 270 w 1522"/>
                <a:gd name="T49" fmla="*/ 1354 h 1984"/>
                <a:gd name="T50" fmla="*/ 362 w 1522"/>
                <a:gd name="T51" fmla="*/ 1346 h 1984"/>
                <a:gd name="T52" fmla="*/ 589 w 1522"/>
                <a:gd name="T53" fmla="*/ 1268 h 1984"/>
                <a:gd name="T54" fmla="*/ 718 w 1522"/>
                <a:gd name="T55" fmla="*/ 1327 h 1984"/>
                <a:gd name="T56" fmla="*/ 694 w 1522"/>
                <a:gd name="T57" fmla="*/ 1471 h 1984"/>
                <a:gd name="T58" fmla="*/ 727 w 1522"/>
                <a:gd name="T59" fmla="*/ 1665 h 1984"/>
                <a:gd name="T60" fmla="*/ 756 w 1522"/>
                <a:gd name="T61" fmla="*/ 1766 h 1984"/>
                <a:gd name="T62" fmla="*/ 830 w 1522"/>
                <a:gd name="T63" fmla="*/ 1775 h 1984"/>
                <a:gd name="T64" fmla="*/ 1076 w 1522"/>
                <a:gd name="T65" fmla="*/ 1915 h 1984"/>
                <a:gd name="T66" fmla="*/ 1330 w 1522"/>
                <a:gd name="T67" fmla="*/ 1958 h 1984"/>
                <a:gd name="T68" fmla="*/ 1388 w 1522"/>
                <a:gd name="T69" fmla="*/ 1867 h 1984"/>
                <a:gd name="T70" fmla="*/ 1458 w 1522"/>
                <a:gd name="T71" fmla="*/ 1704 h 1984"/>
                <a:gd name="T72" fmla="*/ 1522 w 1522"/>
                <a:gd name="T73" fmla="*/ 1507 h 1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22" h="1984">
                  <a:moveTo>
                    <a:pt x="1490" y="1478"/>
                  </a:moveTo>
                  <a:cubicBezTo>
                    <a:pt x="1471" y="1363"/>
                    <a:pt x="1471" y="1363"/>
                    <a:pt x="1471" y="1363"/>
                  </a:cubicBezTo>
                  <a:cubicBezTo>
                    <a:pt x="1484" y="1362"/>
                    <a:pt x="1484" y="1362"/>
                    <a:pt x="1484" y="1362"/>
                  </a:cubicBezTo>
                  <a:cubicBezTo>
                    <a:pt x="1435" y="1244"/>
                    <a:pt x="1435" y="1244"/>
                    <a:pt x="1435" y="1244"/>
                  </a:cubicBezTo>
                  <a:cubicBezTo>
                    <a:pt x="1510" y="1171"/>
                    <a:pt x="1510" y="1171"/>
                    <a:pt x="1510" y="1171"/>
                  </a:cubicBezTo>
                  <a:cubicBezTo>
                    <a:pt x="1435" y="1068"/>
                    <a:pt x="1435" y="1068"/>
                    <a:pt x="1435" y="1068"/>
                  </a:cubicBezTo>
                  <a:cubicBezTo>
                    <a:pt x="1435" y="1068"/>
                    <a:pt x="1435" y="1019"/>
                    <a:pt x="1437" y="984"/>
                  </a:cubicBezTo>
                  <a:cubicBezTo>
                    <a:pt x="1440" y="949"/>
                    <a:pt x="1356" y="884"/>
                    <a:pt x="1356" y="884"/>
                  </a:cubicBezTo>
                  <a:cubicBezTo>
                    <a:pt x="1129" y="946"/>
                    <a:pt x="1129" y="946"/>
                    <a:pt x="1129" y="946"/>
                  </a:cubicBezTo>
                  <a:cubicBezTo>
                    <a:pt x="1083" y="863"/>
                    <a:pt x="1083" y="863"/>
                    <a:pt x="1083" y="863"/>
                  </a:cubicBezTo>
                  <a:cubicBezTo>
                    <a:pt x="1121" y="809"/>
                    <a:pt x="1121" y="809"/>
                    <a:pt x="1121" y="809"/>
                  </a:cubicBezTo>
                  <a:cubicBezTo>
                    <a:pt x="1178" y="814"/>
                    <a:pt x="1178" y="814"/>
                    <a:pt x="1178" y="814"/>
                  </a:cubicBezTo>
                  <a:cubicBezTo>
                    <a:pt x="1189" y="784"/>
                    <a:pt x="1189" y="784"/>
                    <a:pt x="1189" y="784"/>
                  </a:cubicBezTo>
                  <a:cubicBezTo>
                    <a:pt x="1151" y="765"/>
                    <a:pt x="1151" y="765"/>
                    <a:pt x="1151" y="765"/>
                  </a:cubicBezTo>
                  <a:cubicBezTo>
                    <a:pt x="1224" y="698"/>
                    <a:pt x="1224" y="698"/>
                    <a:pt x="1224" y="698"/>
                  </a:cubicBezTo>
                  <a:cubicBezTo>
                    <a:pt x="1224" y="698"/>
                    <a:pt x="1291" y="681"/>
                    <a:pt x="1300" y="652"/>
                  </a:cubicBezTo>
                  <a:cubicBezTo>
                    <a:pt x="1308" y="622"/>
                    <a:pt x="1246" y="576"/>
                    <a:pt x="1227" y="519"/>
                  </a:cubicBezTo>
                  <a:cubicBezTo>
                    <a:pt x="1208" y="463"/>
                    <a:pt x="1246" y="376"/>
                    <a:pt x="1246" y="376"/>
                  </a:cubicBezTo>
                  <a:cubicBezTo>
                    <a:pt x="1324" y="400"/>
                    <a:pt x="1324" y="400"/>
                    <a:pt x="1324" y="400"/>
                  </a:cubicBezTo>
                  <a:cubicBezTo>
                    <a:pt x="1318" y="246"/>
                    <a:pt x="1318" y="246"/>
                    <a:pt x="1318" y="246"/>
                  </a:cubicBezTo>
                  <a:cubicBezTo>
                    <a:pt x="1318" y="246"/>
                    <a:pt x="1259" y="230"/>
                    <a:pt x="1246" y="209"/>
                  </a:cubicBezTo>
                  <a:cubicBezTo>
                    <a:pt x="1232" y="187"/>
                    <a:pt x="1240" y="109"/>
                    <a:pt x="1218" y="90"/>
                  </a:cubicBezTo>
                  <a:cubicBezTo>
                    <a:pt x="1197" y="71"/>
                    <a:pt x="1151" y="52"/>
                    <a:pt x="1151" y="52"/>
                  </a:cubicBezTo>
                  <a:cubicBezTo>
                    <a:pt x="1143" y="0"/>
                    <a:pt x="1143" y="0"/>
                    <a:pt x="1143" y="0"/>
                  </a:cubicBezTo>
                  <a:cubicBezTo>
                    <a:pt x="1091" y="11"/>
                    <a:pt x="1091" y="11"/>
                    <a:pt x="1091" y="11"/>
                  </a:cubicBezTo>
                  <a:cubicBezTo>
                    <a:pt x="1091" y="84"/>
                    <a:pt x="1091" y="84"/>
                    <a:pt x="1091" y="84"/>
                  </a:cubicBezTo>
                  <a:cubicBezTo>
                    <a:pt x="1037" y="111"/>
                    <a:pt x="1037" y="111"/>
                    <a:pt x="1037" y="111"/>
                  </a:cubicBezTo>
                  <a:cubicBezTo>
                    <a:pt x="1016" y="154"/>
                    <a:pt x="1016" y="154"/>
                    <a:pt x="1016" y="154"/>
                  </a:cubicBezTo>
                  <a:cubicBezTo>
                    <a:pt x="848" y="198"/>
                    <a:pt x="848" y="198"/>
                    <a:pt x="848" y="198"/>
                  </a:cubicBezTo>
                  <a:cubicBezTo>
                    <a:pt x="846" y="265"/>
                    <a:pt x="846" y="265"/>
                    <a:pt x="846" y="265"/>
                  </a:cubicBezTo>
                  <a:cubicBezTo>
                    <a:pt x="786" y="290"/>
                    <a:pt x="786" y="290"/>
                    <a:pt x="786" y="290"/>
                  </a:cubicBezTo>
                  <a:cubicBezTo>
                    <a:pt x="724" y="265"/>
                    <a:pt x="724" y="265"/>
                    <a:pt x="724" y="265"/>
                  </a:cubicBezTo>
                  <a:cubicBezTo>
                    <a:pt x="543" y="354"/>
                    <a:pt x="543" y="354"/>
                    <a:pt x="543" y="354"/>
                  </a:cubicBezTo>
                  <a:cubicBezTo>
                    <a:pt x="532" y="441"/>
                    <a:pt x="532" y="441"/>
                    <a:pt x="532" y="441"/>
                  </a:cubicBezTo>
                  <a:cubicBezTo>
                    <a:pt x="464" y="409"/>
                    <a:pt x="464" y="409"/>
                    <a:pt x="464" y="409"/>
                  </a:cubicBezTo>
                  <a:cubicBezTo>
                    <a:pt x="429" y="422"/>
                    <a:pt x="429" y="422"/>
                    <a:pt x="429" y="422"/>
                  </a:cubicBezTo>
                  <a:cubicBezTo>
                    <a:pt x="448" y="549"/>
                    <a:pt x="448" y="549"/>
                    <a:pt x="448" y="549"/>
                  </a:cubicBezTo>
                  <a:cubicBezTo>
                    <a:pt x="408" y="549"/>
                    <a:pt x="408" y="549"/>
                    <a:pt x="408" y="549"/>
                  </a:cubicBezTo>
                  <a:cubicBezTo>
                    <a:pt x="340" y="503"/>
                    <a:pt x="340" y="503"/>
                    <a:pt x="340" y="503"/>
                  </a:cubicBezTo>
                  <a:cubicBezTo>
                    <a:pt x="205" y="499"/>
                    <a:pt x="205" y="499"/>
                    <a:pt x="205" y="499"/>
                  </a:cubicBezTo>
                  <a:cubicBezTo>
                    <a:pt x="206" y="514"/>
                    <a:pt x="206" y="514"/>
                    <a:pt x="206" y="514"/>
                  </a:cubicBezTo>
                  <a:cubicBezTo>
                    <a:pt x="178" y="513"/>
                    <a:pt x="178" y="513"/>
                    <a:pt x="178" y="513"/>
                  </a:cubicBezTo>
                  <a:cubicBezTo>
                    <a:pt x="183" y="542"/>
                    <a:pt x="184" y="567"/>
                    <a:pt x="180" y="575"/>
                  </a:cubicBezTo>
                  <a:cubicBezTo>
                    <a:pt x="165" y="599"/>
                    <a:pt x="81" y="621"/>
                    <a:pt x="53" y="648"/>
                  </a:cubicBezTo>
                  <a:cubicBezTo>
                    <a:pt x="13" y="686"/>
                    <a:pt x="0" y="763"/>
                    <a:pt x="0" y="817"/>
                  </a:cubicBezTo>
                  <a:cubicBezTo>
                    <a:pt x="0" y="899"/>
                    <a:pt x="60" y="1063"/>
                    <a:pt x="145" y="1056"/>
                  </a:cubicBezTo>
                  <a:cubicBezTo>
                    <a:pt x="172" y="1118"/>
                    <a:pt x="251" y="1065"/>
                    <a:pt x="221" y="1184"/>
                  </a:cubicBezTo>
                  <a:cubicBezTo>
                    <a:pt x="218" y="1198"/>
                    <a:pt x="148" y="1274"/>
                    <a:pt x="130" y="1290"/>
                  </a:cubicBezTo>
                  <a:cubicBezTo>
                    <a:pt x="119" y="1301"/>
                    <a:pt x="116" y="1312"/>
                    <a:pt x="116" y="1324"/>
                  </a:cubicBezTo>
                  <a:cubicBezTo>
                    <a:pt x="167" y="1335"/>
                    <a:pt x="259" y="1350"/>
                    <a:pt x="270" y="1354"/>
                  </a:cubicBezTo>
                  <a:cubicBezTo>
                    <a:pt x="291" y="1363"/>
                    <a:pt x="329" y="1338"/>
                    <a:pt x="329" y="1338"/>
                  </a:cubicBezTo>
                  <a:cubicBezTo>
                    <a:pt x="362" y="1346"/>
                    <a:pt x="362" y="1346"/>
                    <a:pt x="362" y="1346"/>
                  </a:cubicBezTo>
                  <a:cubicBezTo>
                    <a:pt x="524" y="1254"/>
                    <a:pt x="524" y="1254"/>
                    <a:pt x="524" y="1254"/>
                  </a:cubicBezTo>
                  <a:cubicBezTo>
                    <a:pt x="589" y="1268"/>
                    <a:pt x="589" y="1268"/>
                    <a:pt x="589" y="1268"/>
                  </a:cubicBezTo>
                  <a:cubicBezTo>
                    <a:pt x="640" y="1303"/>
                    <a:pt x="640" y="1303"/>
                    <a:pt x="640" y="1303"/>
                  </a:cubicBezTo>
                  <a:cubicBezTo>
                    <a:pt x="718" y="1327"/>
                    <a:pt x="718" y="1327"/>
                    <a:pt x="718" y="1327"/>
                  </a:cubicBezTo>
                  <a:cubicBezTo>
                    <a:pt x="737" y="1433"/>
                    <a:pt x="737" y="1433"/>
                    <a:pt x="737" y="1433"/>
                  </a:cubicBezTo>
                  <a:cubicBezTo>
                    <a:pt x="694" y="1471"/>
                    <a:pt x="694" y="1471"/>
                    <a:pt x="694" y="1471"/>
                  </a:cubicBezTo>
                  <a:cubicBezTo>
                    <a:pt x="694" y="1471"/>
                    <a:pt x="791" y="1522"/>
                    <a:pt x="791" y="1565"/>
                  </a:cubicBezTo>
                  <a:cubicBezTo>
                    <a:pt x="791" y="1609"/>
                    <a:pt x="727" y="1665"/>
                    <a:pt x="727" y="1665"/>
                  </a:cubicBezTo>
                  <a:cubicBezTo>
                    <a:pt x="727" y="1714"/>
                    <a:pt x="727" y="1714"/>
                    <a:pt x="727" y="1714"/>
                  </a:cubicBezTo>
                  <a:cubicBezTo>
                    <a:pt x="756" y="1766"/>
                    <a:pt x="756" y="1766"/>
                    <a:pt x="756" y="1766"/>
                  </a:cubicBezTo>
                  <a:cubicBezTo>
                    <a:pt x="759" y="1763"/>
                    <a:pt x="764" y="1761"/>
                    <a:pt x="774" y="1760"/>
                  </a:cubicBezTo>
                  <a:cubicBezTo>
                    <a:pt x="798" y="1759"/>
                    <a:pt x="808" y="1775"/>
                    <a:pt x="830" y="1775"/>
                  </a:cubicBezTo>
                  <a:cubicBezTo>
                    <a:pt x="804" y="1775"/>
                    <a:pt x="862" y="1847"/>
                    <a:pt x="876" y="1853"/>
                  </a:cubicBezTo>
                  <a:cubicBezTo>
                    <a:pt x="913" y="1867"/>
                    <a:pt x="1053" y="1940"/>
                    <a:pt x="1076" y="1915"/>
                  </a:cubicBezTo>
                  <a:cubicBezTo>
                    <a:pt x="1114" y="1871"/>
                    <a:pt x="1229" y="1960"/>
                    <a:pt x="1289" y="1984"/>
                  </a:cubicBezTo>
                  <a:cubicBezTo>
                    <a:pt x="1330" y="1958"/>
                    <a:pt x="1330" y="1958"/>
                    <a:pt x="1330" y="1958"/>
                  </a:cubicBezTo>
                  <a:cubicBezTo>
                    <a:pt x="1371" y="1925"/>
                    <a:pt x="1371" y="1925"/>
                    <a:pt x="1371" y="1925"/>
                  </a:cubicBezTo>
                  <a:cubicBezTo>
                    <a:pt x="1388" y="1867"/>
                    <a:pt x="1388" y="1867"/>
                    <a:pt x="1388" y="1867"/>
                  </a:cubicBezTo>
                  <a:cubicBezTo>
                    <a:pt x="1415" y="1846"/>
                    <a:pt x="1415" y="1846"/>
                    <a:pt x="1415" y="1846"/>
                  </a:cubicBezTo>
                  <a:cubicBezTo>
                    <a:pt x="1458" y="1704"/>
                    <a:pt x="1458" y="1704"/>
                    <a:pt x="1458" y="1704"/>
                  </a:cubicBezTo>
                  <a:cubicBezTo>
                    <a:pt x="1508" y="1648"/>
                    <a:pt x="1508" y="1648"/>
                    <a:pt x="1508" y="1648"/>
                  </a:cubicBezTo>
                  <a:cubicBezTo>
                    <a:pt x="1522" y="1507"/>
                    <a:pt x="1522" y="1507"/>
                    <a:pt x="1522" y="1507"/>
                  </a:cubicBezTo>
                  <a:lnTo>
                    <a:pt x="1490" y="1478"/>
                  </a:ln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205" name="Freeform 21">
              <a:extLst>
                <a:ext uri="{FF2B5EF4-FFF2-40B4-BE49-F238E27FC236}">
                  <a16:creationId xmlns:a16="http://schemas.microsoft.com/office/drawing/2014/main" id="{772752FB-3173-B340-87C5-8794A642B388}"/>
                </a:ext>
              </a:extLst>
            </p:cNvPr>
            <p:cNvSpPr>
              <a:spLocks/>
            </p:cNvSpPr>
            <p:nvPr/>
          </p:nvSpPr>
          <p:spPr bwMode="auto">
            <a:xfrm>
              <a:off x="703" y="1579"/>
              <a:ext cx="869" cy="811"/>
            </a:xfrm>
            <a:custGeom>
              <a:avLst/>
              <a:gdLst>
                <a:gd name="T0" fmla="*/ 2295 w 2295"/>
                <a:gd name="T1" fmla="*/ 681 h 2141"/>
                <a:gd name="T2" fmla="*/ 2186 w 2295"/>
                <a:gd name="T3" fmla="*/ 556 h 2141"/>
                <a:gd name="T4" fmla="*/ 2108 w 2295"/>
                <a:gd name="T5" fmla="*/ 403 h 2141"/>
                <a:gd name="T6" fmla="*/ 2055 w 2295"/>
                <a:gd name="T7" fmla="*/ 299 h 2141"/>
                <a:gd name="T8" fmla="*/ 2020 w 2295"/>
                <a:gd name="T9" fmla="*/ 211 h 2141"/>
                <a:gd name="T10" fmla="*/ 2122 w 2295"/>
                <a:gd name="T11" fmla="*/ 46 h 2141"/>
                <a:gd name="T12" fmla="*/ 1994 w 2295"/>
                <a:gd name="T13" fmla="*/ 131 h 2141"/>
                <a:gd name="T14" fmla="*/ 1839 w 2295"/>
                <a:gd name="T15" fmla="*/ 0 h 2141"/>
                <a:gd name="T16" fmla="*/ 1689 w 2295"/>
                <a:gd name="T17" fmla="*/ 59 h 2141"/>
                <a:gd name="T18" fmla="*/ 1620 w 2295"/>
                <a:gd name="T19" fmla="*/ 112 h 2141"/>
                <a:gd name="T20" fmla="*/ 1697 w 2295"/>
                <a:gd name="T21" fmla="*/ 305 h 2141"/>
                <a:gd name="T22" fmla="*/ 1593 w 2295"/>
                <a:gd name="T23" fmla="*/ 393 h 2141"/>
                <a:gd name="T24" fmla="*/ 1340 w 2295"/>
                <a:gd name="T25" fmla="*/ 427 h 2141"/>
                <a:gd name="T26" fmla="*/ 1425 w 2295"/>
                <a:gd name="T27" fmla="*/ 350 h 2141"/>
                <a:gd name="T28" fmla="*/ 1398 w 2295"/>
                <a:gd name="T29" fmla="*/ 190 h 2141"/>
                <a:gd name="T30" fmla="*/ 1294 w 2295"/>
                <a:gd name="T31" fmla="*/ 151 h 2141"/>
                <a:gd name="T32" fmla="*/ 1182 w 2295"/>
                <a:gd name="T33" fmla="*/ 30 h 2141"/>
                <a:gd name="T34" fmla="*/ 1174 w 2295"/>
                <a:gd name="T35" fmla="*/ 78 h 2141"/>
                <a:gd name="T36" fmla="*/ 979 w 2295"/>
                <a:gd name="T37" fmla="*/ 238 h 2141"/>
                <a:gd name="T38" fmla="*/ 797 w 2295"/>
                <a:gd name="T39" fmla="*/ 241 h 2141"/>
                <a:gd name="T40" fmla="*/ 680 w 2295"/>
                <a:gd name="T41" fmla="*/ 374 h 2141"/>
                <a:gd name="T42" fmla="*/ 586 w 2295"/>
                <a:gd name="T43" fmla="*/ 580 h 2141"/>
                <a:gd name="T44" fmla="*/ 390 w 2295"/>
                <a:gd name="T45" fmla="*/ 647 h 2141"/>
                <a:gd name="T46" fmla="*/ 229 w 2295"/>
                <a:gd name="T47" fmla="*/ 640 h 2141"/>
                <a:gd name="T48" fmla="*/ 150 w 2295"/>
                <a:gd name="T49" fmla="*/ 760 h 2141"/>
                <a:gd name="T50" fmla="*/ 248 w 2295"/>
                <a:gd name="T51" fmla="*/ 1101 h 2141"/>
                <a:gd name="T52" fmla="*/ 195 w 2295"/>
                <a:gd name="T53" fmla="*/ 1296 h 2141"/>
                <a:gd name="T54" fmla="*/ 41 w 2295"/>
                <a:gd name="T55" fmla="*/ 1397 h 2141"/>
                <a:gd name="T56" fmla="*/ 133 w 2295"/>
                <a:gd name="T57" fmla="*/ 1629 h 2141"/>
                <a:gd name="T58" fmla="*/ 232 w 2295"/>
                <a:gd name="T59" fmla="*/ 1861 h 2141"/>
                <a:gd name="T60" fmla="*/ 257 w 2295"/>
                <a:gd name="T61" fmla="*/ 1992 h 2141"/>
                <a:gd name="T62" fmla="*/ 292 w 2295"/>
                <a:gd name="T63" fmla="*/ 2105 h 2141"/>
                <a:gd name="T64" fmla="*/ 319 w 2295"/>
                <a:gd name="T65" fmla="*/ 2091 h 2141"/>
                <a:gd name="T66" fmla="*/ 522 w 2295"/>
                <a:gd name="T67" fmla="*/ 2141 h 2141"/>
                <a:gd name="T68" fmla="*/ 543 w 2295"/>
                <a:gd name="T69" fmla="*/ 2014 h 2141"/>
                <a:gd name="T70" fmla="*/ 646 w 2295"/>
                <a:gd name="T71" fmla="*/ 2033 h 2141"/>
                <a:gd name="T72" fmla="*/ 838 w 2295"/>
                <a:gd name="T73" fmla="*/ 1857 h 2141"/>
                <a:gd name="T74" fmla="*/ 960 w 2295"/>
                <a:gd name="T75" fmla="*/ 1857 h 2141"/>
                <a:gd name="T76" fmla="*/ 1130 w 2295"/>
                <a:gd name="T77" fmla="*/ 1746 h 2141"/>
                <a:gd name="T78" fmla="*/ 1205 w 2295"/>
                <a:gd name="T79" fmla="*/ 1676 h 2141"/>
                <a:gd name="T80" fmla="*/ 1257 w 2295"/>
                <a:gd name="T81" fmla="*/ 1592 h 2141"/>
                <a:gd name="T82" fmla="*/ 1332 w 2295"/>
                <a:gd name="T83" fmla="*/ 1682 h 2141"/>
                <a:gd name="T84" fmla="*/ 1431 w 2295"/>
                <a:gd name="T85" fmla="*/ 1838 h 2141"/>
                <a:gd name="T86" fmla="*/ 1449 w 2295"/>
                <a:gd name="T87" fmla="*/ 1744 h 2141"/>
                <a:gd name="T88" fmla="*/ 1531 w 2295"/>
                <a:gd name="T89" fmla="*/ 1648 h 2141"/>
                <a:gd name="T90" fmla="*/ 1704 w 2295"/>
                <a:gd name="T91" fmla="*/ 1508 h 2141"/>
                <a:gd name="T92" fmla="*/ 1816 w 2295"/>
                <a:gd name="T93" fmla="*/ 1434 h 2141"/>
                <a:gd name="T94" fmla="*/ 1819 w 2295"/>
                <a:gd name="T95" fmla="*/ 1270 h 2141"/>
                <a:gd name="T96" fmla="*/ 1734 w 2295"/>
                <a:gd name="T97" fmla="*/ 1251 h 2141"/>
                <a:gd name="T98" fmla="*/ 1964 w 2295"/>
                <a:gd name="T99" fmla="*/ 1155 h 2141"/>
                <a:gd name="T100" fmla="*/ 2027 w 2295"/>
                <a:gd name="T101" fmla="*/ 1032 h 2141"/>
                <a:gd name="T102" fmla="*/ 2208 w 2295"/>
                <a:gd name="T103" fmla="*/ 1015 h 2141"/>
                <a:gd name="T104" fmla="*/ 2278 w 2295"/>
                <a:gd name="T105" fmla="*/ 904 h 2141"/>
                <a:gd name="T106" fmla="*/ 2269 w 2295"/>
                <a:gd name="T107" fmla="*/ 772 h 2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95" h="2141">
                  <a:moveTo>
                    <a:pt x="2269" y="772"/>
                  </a:moveTo>
                  <a:cubicBezTo>
                    <a:pt x="2290" y="740"/>
                    <a:pt x="2295" y="681"/>
                    <a:pt x="2295" y="681"/>
                  </a:cubicBezTo>
                  <a:cubicBezTo>
                    <a:pt x="2218" y="676"/>
                    <a:pt x="2218" y="676"/>
                    <a:pt x="2218" y="676"/>
                  </a:cubicBezTo>
                  <a:cubicBezTo>
                    <a:pt x="2186" y="556"/>
                    <a:pt x="2186" y="556"/>
                    <a:pt x="2186" y="556"/>
                  </a:cubicBezTo>
                  <a:cubicBezTo>
                    <a:pt x="2124" y="569"/>
                    <a:pt x="2124" y="569"/>
                    <a:pt x="2124" y="569"/>
                  </a:cubicBezTo>
                  <a:cubicBezTo>
                    <a:pt x="2108" y="403"/>
                    <a:pt x="2108" y="403"/>
                    <a:pt x="2108" y="403"/>
                  </a:cubicBezTo>
                  <a:cubicBezTo>
                    <a:pt x="2023" y="393"/>
                    <a:pt x="2023" y="393"/>
                    <a:pt x="2023" y="393"/>
                  </a:cubicBezTo>
                  <a:cubicBezTo>
                    <a:pt x="2055" y="299"/>
                    <a:pt x="2055" y="299"/>
                    <a:pt x="2055" y="299"/>
                  </a:cubicBezTo>
                  <a:cubicBezTo>
                    <a:pt x="2020" y="281"/>
                    <a:pt x="2020" y="281"/>
                    <a:pt x="2020" y="281"/>
                  </a:cubicBezTo>
                  <a:cubicBezTo>
                    <a:pt x="2020" y="211"/>
                    <a:pt x="2020" y="211"/>
                    <a:pt x="2020" y="211"/>
                  </a:cubicBezTo>
                  <a:cubicBezTo>
                    <a:pt x="2076" y="187"/>
                    <a:pt x="2076" y="187"/>
                    <a:pt x="2076" y="187"/>
                  </a:cubicBezTo>
                  <a:cubicBezTo>
                    <a:pt x="2122" y="46"/>
                    <a:pt x="2122" y="46"/>
                    <a:pt x="2122" y="46"/>
                  </a:cubicBezTo>
                  <a:cubicBezTo>
                    <a:pt x="2055" y="46"/>
                    <a:pt x="2055" y="46"/>
                    <a:pt x="2055" y="46"/>
                  </a:cubicBezTo>
                  <a:cubicBezTo>
                    <a:pt x="1994" y="131"/>
                    <a:pt x="1994" y="131"/>
                    <a:pt x="1994" y="131"/>
                  </a:cubicBezTo>
                  <a:cubicBezTo>
                    <a:pt x="1850" y="126"/>
                    <a:pt x="1850" y="126"/>
                    <a:pt x="1850" y="126"/>
                  </a:cubicBezTo>
                  <a:cubicBezTo>
                    <a:pt x="1839" y="0"/>
                    <a:pt x="1839" y="0"/>
                    <a:pt x="1839" y="0"/>
                  </a:cubicBezTo>
                  <a:cubicBezTo>
                    <a:pt x="1713" y="19"/>
                    <a:pt x="1713" y="19"/>
                    <a:pt x="1713" y="19"/>
                  </a:cubicBezTo>
                  <a:cubicBezTo>
                    <a:pt x="1689" y="59"/>
                    <a:pt x="1689" y="59"/>
                    <a:pt x="1689" y="59"/>
                  </a:cubicBezTo>
                  <a:cubicBezTo>
                    <a:pt x="1607" y="64"/>
                    <a:pt x="1607" y="64"/>
                    <a:pt x="1607" y="64"/>
                  </a:cubicBezTo>
                  <a:cubicBezTo>
                    <a:pt x="1620" y="112"/>
                    <a:pt x="1620" y="112"/>
                    <a:pt x="1620" y="112"/>
                  </a:cubicBezTo>
                  <a:cubicBezTo>
                    <a:pt x="1692" y="160"/>
                    <a:pt x="1692" y="160"/>
                    <a:pt x="1692" y="160"/>
                  </a:cubicBezTo>
                  <a:cubicBezTo>
                    <a:pt x="1692" y="160"/>
                    <a:pt x="1705" y="211"/>
                    <a:pt x="1697" y="305"/>
                  </a:cubicBezTo>
                  <a:cubicBezTo>
                    <a:pt x="1689" y="398"/>
                    <a:pt x="1663" y="406"/>
                    <a:pt x="1663" y="406"/>
                  </a:cubicBezTo>
                  <a:cubicBezTo>
                    <a:pt x="1593" y="393"/>
                    <a:pt x="1593" y="393"/>
                    <a:pt x="1593" y="393"/>
                  </a:cubicBezTo>
                  <a:cubicBezTo>
                    <a:pt x="1374" y="489"/>
                    <a:pt x="1374" y="489"/>
                    <a:pt x="1374" y="489"/>
                  </a:cubicBezTo>
                  <a:cubicBezTo>
                    <a:pt x="1340" y="427"/>
                    <a:pt x="1340" y="427"/>
                    <a:pt x="1340" y="427"/>
                  </a:cubicBezTo>
                  <a:cubicBezTo>
                    <a:pt x="1414" y="395"/>
                    <a:pt x="1414" y="395"/>
                    <a:pt x="1414" y="395"/>
                  </a:cubicBezTo>
                  <a:cubicBezTo>
                    <a:pt x="1425" y="350"/>
                    <a:pt x="1425" y="350"/>
                    <a:pt x="1425" y="350"/>
                  </a:cubicBezTo>
                  <a:cubicBezTo>
                    <a:pt x="1329" y="315"/>
                    <a:pt x="1329" y="315"/>
                    <a:pt x="1329" y="315"/>
                  </a:cubicBezTo>
                  <a:cubicBezTo>
                    <a:pt x="1398" y="190"/>
                    <a:pt x="1398" y="190"/>
                    <a:pt x="1398" y="190"/>
                  </a:cubicBezTo>
                  <a:cubicBezTo>
                    <a:pt x="1369" y="134"/>
                    <a:pt x="1369" y="134"/>
                    <a:pt x="1369" y="134"/>
                  </a:cubicBezTo>
                  <a:cubicBezTo>
                    <a:pt x="1294" y="151"/>
                    <a:pt x="1294" y="151"/>
                    <a:pt x="1294" y="151"/>
                  </a:cubicBezTo>
                  <a:cubicBezTo>
                    <a:pt x="1236" y="59"/>
                    <a:pt x="1236" y="59"/>
                    <a:pt x="1236" y="59"/>
                  </a:cubicBezTo>
                  <a:cubicBezTo>
                    <a:pt x="1182" y="30"/>
                    <a:pt x="1182" y="30"/>
                    <a:pt x="1182" y="30"/>
                  </a:cubicBezTo>
                  <a:cubicBezTo>
                    <a:pt x="1148" y="56"/>
                    <a:pt x="1148" y="56"/>
                    <a:pt x="1148" y="56"/>
                  </a:cubicBezTo>
                  <a:cubicBezTo>
                    <a:pt x="1174" y="78"/>
                    <a:pt x="1174" y="78"/>
                    <a:pt x="1174" y="78"/>
                  </a:cubicBezTo>
                  <a:cubicBezTo>
                    <a:pt x="1150" y="134"/>
                    <a:pt x="1150" y="134"/>
                    <a:pt x="1150" y="134"/>
                  </a:cubicBezTo>
                  <a:cubicBezTo>
                    <a:pt x="979" y="238"/>
                    <a:pt x="979" y="238"/>
                    <a:pt x="979" y="238"/>
                  </a:cubicBezTo>
                  <a:cubicBezTo>
                    <a:pt x="891" y="222"/>
                    <a:pt x="891" y="222"/>
                    <a:pt x="891" y="222"/>
                  </a:cubicBezTo>
                  <a:cubicBezTo>
                    <a:pt x="797" y="241"/>
                    <a:pt x="797" y="241"/>
                    <a:pt x="797" y="241"/>
                  </a:cubicBezTo>
                  <a:cubicBezTo>
                    <a:pt x="800" y="248"/>
                    <a:pt x="804" y="255"/>
                    <a:pt x="811" y="261"/>
                  </a:cubicBezTo>
                  <a:cubicBezTo>
                    <a:pt x="776" y="271"/>
                    <a:pt x="691" y="374"/>
                    <a:pt x="680" y="374"/>
                  </a:cubicBezTo>
                  <a:cubicBezTo>
                    <a:pt x="615" y="374"/>
                    <a:pt x="587" y="407"/>
                    <a:pt x="560" y="456"/>
                  </a:cubicBezTo>
                  <a:cubicBezTo>
                    <a:pt x="690" y="460"/>
                    <a:pt x="619" y="602"/>
                    <a:pt x="586" y="580"/>
                  </a:cubicBezTo>
                  <a:cubicBezTo>
                    <a:pt x="526" y="540"/>
                    <a:pt x="457" y="639"/>
                    <a:pt x="383" y="610"/>
                  </a:cubicBezTo>
                  <a:cubicBezTo>
                    <a:pt x="386" y="623"/>
                    <a:pt x="388" y="635"/>
                    <a:pt x="390" y="647"/>
                  </a:cubicBezTo>
                  <a:cubicBezTo>
                    <a:pt x="340" y="608"/>
                    <a:pt x="257" y="577"/>
                    <a:pt x="204" y="585"/>
                  </a:cubicBezTo>
                  <a:cubicBezTo>
                    <a:pt x="218" y="603"/>
                    <a:pt x="219" y="624"/>
                    <a:pt x="229" y="640"/>
                  </a:cubicBezTo>
                  <a:cubicBezTo>
                    <a:pt x="184" y="618"/>
                    <a:pt x="142" y="629"/>
                    <a:pt x="91" y="633"/>
                  </a:cubicBezTo>
                  <a:cubicBezTo>
                    <a:pt x="92" y="634"/>
                    <a:pt x="149" y="771"/>
                    <a:pt x="150" y="760"/>
                  </a:cubicBezTo>
                  <a:cubicBezTo>
                    <a:pt x="146" y="804"/>
                    <a:pt x="173" y="868"/>
                    <a:pt x="208" y="917"/>
                  </a:cubicBezTo>
                  <a:cubicBezTo>
                    <a:pt x="245" y="970"/>
                    <a:pt x="250" y="1039"/>
                    <a:pt x="248" y="1101"/>
                  </a:cubicBezTo>
                  <a:cubicBezTo>
                    <a:pt x="244" y="1183"/>
                    <a:pt x="117" y="1197"/>
                    <a:pt x="144" y="1307"/>
                  </a:cubicBezTo>
                  <a:cubicBezTo>
                    <a:pt x="195" y="1296"/>
                    <a:pt x="195" y="1296"/>
                    <a:pt x="195" y="1296"/>
                  </a:cubicBezTo>
                  <a:cubicBezTo>
                    <a:pt x="179" y="1371"/>
                    <a:pt x="87" y="1368"/>
                    <a:pt x="66" y="1443"/>
                  </a:cubicBezTo>
                  <a:cubicBezTo>
                    <a:pt x="58" y="1427"/>
                    <a:pt x="49" y="1412"/>
                    <a:pt x="41" y="1397"/>
                  </a:cubicBezTo>
                  <a:cubicBezTo>
                    <a:pt x="0" y="1415"/>
                    <a:pt x="3" y="1455"/>
                    <a:pt x="22" y="1496"/>
                  </a:cubicBezTo>
                  <a:cubicBezTo>
                    <a:pt x="117" y="1456"/>
                    <a:pt x="112" y="1561"/>
                    <a:pt x="133" y="1629"/>
                  </a:cubicBezTo>
                  <a:cubicBezTo>
                    <a:pt x="101" y="1628"/>
                    <a:pt x="82" y="1641"/>
                    <a:pt x="55" y="1670"/>
                  </a:cubicBezTo>
                  <a:cubicBezTo>
                    <a:pt x="71" y="1736"/>
                    <a:pt x="163" y="1855"/>
                    <a:pt x="232" y="1861"/>
                  </a:cubicBezTo>
                  <a:cubicBezTo>
                    <a:pt x="214" y="1878"/>
                    <a:pt x="165" y="1911"/>
                    <a:pt x="165" y="1935"/>
                  </a:cubicBezTo>
                  <a:cubicBezTo>
                    <a:pt x="168" y="2019"/>
                    <a:pt x="229" y="1959"/>
                    <a:pt x="257" y="1992"/>
                  </a:cubicBezTo>
                  <a:cubicBezTo>
                    <a:pt x="268" y="2006"/>
                    <a:pt x="284" y="2060"/>
                    <a:pt x="292" y="2105"/>
                  </a:cubicBezTo>
                  <a:cubicBezTo>
                    <a:pt x="292" y="2105"/>
                    <a:pt x="292" y="2105"/>
                    <a:pt x="292" y="2105"/>
                  </a:cubicBezTo>
                  <a:cubicBezTo>
                    <a:pt x="320" y="2106"/>
                    <a:pt x="320" y="2106"/>
                    <a:pt x="320" y="2106"/>
                  </a:cubicBezTo>
                  <a:cubicBezTo>
                    <a:pt x="319" y="2091"/>
                    <a:pt x="319" y="2091"/>
                    <a:pt x="319" y="2091"/>
                  </a:cubicBezTo>
                  <a:cubicBezTo>
                    <a:pt x="454" y="2095"/>
                    <a:pt x="454" y="2095"/>
                    <a:pt x="454" y="2095"/>
                  </a:cubicBezTo>
                  <a:cubicBezTo>
                    <a:pt x="522" y="2141"/>
                    <a:pt x="522" y="2141"/>
                    <a:pt x="522" y="2141"/>
                  </a:cubicBezTo>
                  <a:cubicBezTo>
                    <a:pt x="562" y="2141"/>
                    <a:pt x="562" y="2141"/>
                    <a:pt x="562" y="2141"/>
                  </a:cubicBezTo>
                  <a:cubicBezTo>
                    <a:pt x="543" y="2014"/>
                    <a:pt x="543" y="2014"/>
                    <a:pt x="543" y="2014"/>
                  </a:cubicBezTo>
                  <a:cubicBezTo>
                    <a:pt x="578" y="2001"/>
                    <a:pt x="578" y="2001"/>
                    <a:pt x="578" y="2001"/>
                  </a:cubicBezTo>
                  <a:cubicBezTo>
                    <a:pt x="646" y="2033"/>
                    <a:pt x="646" y="2033"/>
                    <a:pt x="646" y="2033"/>
                  </a:cubicBezTo>
                  <a:cubicBezTo>
                    <a:pt x="657" y="1946"/>
                    <a:pt x="657" y="1946"/>
                    <a:pt x="657" y="1946"/>
                  </a:cubicBezTo>
                  <a:cubicBezTo>
                    <a:pt x="838" y="1857"/>
                    <a:pt x="838" y="1857"/>
                    <a:pt x="838" y="1857"/>
                  </a:cubicBezTo>
                  <a:cubicBezTo>
                    <a:pt x="900" y="1882"/>
                    <a:pt x="900" y="1882"/>
                    <a:pt x="900" y="1882"/>
                  </a:cubicBezTo>
                  <a:cubicBezTo>
                    <a:pt x="960" y="1857"/>
                    <a:pt x="960" y="1857"/>
                    <a:pt x="960" y="1857"/>
                  </a:cubicBezTo>
                  <a:cubicBezTo>
                    <a:pt x="962" y="1790"/>
                    <a:pt x="962" y="1790"/>
                    <a:pt x="962" y="1790"/>
                  </a:cubicBezTo>
                  <a:cubicBezTo>
                    <a:pt x="1130" y="1746"/>
                    <a:pt x="1130" y="1746"/>
                    <a:pt x="1130" y="1746"/>
                  </a:cubicBezTo>
                  <a:cubicBezTo>
                    <a:pt x="1151" y="1703"/>
                    <a:pt x="1151" y="1703"/>
                    <a:pt x="1151" y="1703"/>
                  </a:cubicBezTo>
                  <a:cubicBezTo>
                    <a:pt x="1205" y="1676"/>
                    <a:pt x="1205" y="1676"/>
                    <a:pt x="1205" y="1676"/>
                  </a:cubicBezTo>
                  <a:cubicBezTo>
                    <a:pt x="1205" y="1603"/>
                    <a:pt x="1205" y="1603"/>
                    <a:pt x="1205" y="1603"/>
                  </a:cubicBezTo>
                  <a:cubicBezTo>
                    <a:pt x="1257" y="1592"/>
                    <a:pt x="1257" y="1592"/>
                    <a:pt x="1257" y="1592"/>
                  </a:cubicBezTo>
                  <a:cubicBezTo>
                    <a:pt x="1265" y="1644"/>
                    <a:pt x="1265" y="1644"/>
                    <a:pt x="1265" y="1644"/>
                  </a:cubicBezTo>
                  <a:cubicBezTo>
                    <a:pt x="1265" y="1644"/>
                    <a:pt x="1311" y="1663"/>
                    <a:pt x="1332" y="1682"/>
                  </a:cubicBezTo>
                  <a:cubicBezTo>
                    <a:pt x="1354" y="1701"/>
                    <a:pt x="1346" y="1779"/>
                    <a:pt x="1360" y="1801"/>
                  </a:cubicBezTo>
                  <a:cubicBezTo>
                    <a:pt x="1372" y="1820"/>
                    <a:pt x="1423" y="1836"/>
                    <a:pt x="1431" y="1838"/>
                  </a:cubicBezTo>
                  <a:cubicBezTo>
                    <a:pt x="1462" y="1793"/>
                    <a:pt x="1462" y="1793"/>
                    <a:pt x="1462" y="1793"/>
                  </a:cubicBezTo>
                  <a:cubicBezTo>
                    <a:pt x="1449" y="1744"/>
                    <a:pt x="1449" y="1744"/>
                    <a:pt x="1449" y="1744"/>
                  </a:cubicBezTo>
                  <a:cubicBezTo>
                    <a:pt x="1449" y="1744"/>
                    <a:pt x="1449" y="1744"/>
                    <a:pt x="1449" y="1744"/>
                  </a:cubicBezTo>
                  <a:cubicBezTo>
                    <a:pt x="1531" y="1648"/>
                    <a:pt x="1531" y="1648"/>
                    <a:pt x="1531" y="1648"/>
                  </a:cubicBezTo>
                  <a:cubicBezTo>
                    <a:pt x="1616" y="1656"/>
                    <a:pt x="1616" y="1656"/>
                    <a:pt x="1616" y="1656"/>
                  </a:cubicBezTo>
                  <a:cubicBezTo>
                    <a:pt x="1704" y="1508"/>
                    <a:pt x="1704" y="1508"/>
                    <a:pt x="1704" y="1508"/>
                  </a:cubicBezTo>
                  <a:cubicBezTo>
                    <a:pt x="1706" y="1448"/>
                    <a:pt x="1706" y="1448"/>
                    <a:pt x="1706" y="1448"/>
                  </a:cubicBezTo>
                  <a:cubicBezTo>
                    <a:pt x="1816" y="1434"/>
                    <a:pt x="1816" y="1434"/>
                    <a:pt x="1816" y="1434"/>
                  </a:cubicBezTo>
                  <a:cubicBezTo>
                    <a:pt x="1816" y="1434"/>
                    <a:pt x="1849" y="1388"/>
                    <a:pt x="1849" y="1336"/>
                  </a:cubicBezTo>
                  <a:cubicBezTo>
                    <a:pt x="1849" y="1284"/>
                    <a:pt x="1819" y="1270"/>
                    <a:pt x="1819" y="1270"/>
                  </a:cubicBezTo>
                  <a:cubicBezTo>
                    <a:pt x="1750" y="1289"/>
                    <a:pt x="1750" y="1289"/>
                    <a:pt x="1750" y="1289"/>
                  </a:cubicBezTo>
                  <a:cubicBezTo>
                    <a:pt x="1734" y="1251"/>
                    <a:pt x="1734" y="1251"/>
                    <a:pt x="1734" y="1251"/>
                  </a:cubicBezTo>
                  <a:cubicBezTo>
                    <a:pt x="1819" y="1155"/>
                    <a:pt x="1819" y="1155"/>
                    <a:pt x="1819" y="1155"/>
                  </a:cubicBezTo>
                  <a:cubicBezTo>
                    <a:pt x="1964" y="1155"/>
                    <a:pt x="1964" y="1155"/>
                    <a:pt x="1964" y="1155"/>
                  </a:cubicBezTo>
                  <a:cubicBezTo>
                    <a:pt x="1953" y="1053"/>
                    <a:pt x="1953" y="1053"/>
                    <a:pt x="1953" y="1053"/>
                  </a:cubicBezTo>
                  <a:cubicBezTo>
                    <a:pt x="2027" y="1032"/>
                    <a:pt x="2027" y="1032"/>
                    <a:pt x="2027" y="1032"/>
                  </a:cubicBezTo>
                  <a:cubicBezTo>
                    <a:pt x="2076" y="1095"/>
                    <a:pt x="2076" y="1095"/>
                    <a:pt x="2076" y="1095"/>
                  </a:cubicBezTo>
                  <a:cubicBezTo>
                    <a:pt x="2208" y="1015"/>
                    <a:pt x="2208" y="1015"/>
                    <a:pt x="2208" y="1015"/>
                  </a:cubicBezTo>
                  <a:cubicBezTo>
                    <a:pt x="2227" y="927"/>
                    <a:pt x="2227" y="927"/>
                    <a:pt x="2227" y="927"/>
                  </a:cubicBezTo>
                  <a:cubicBezTo>
                    <a:pt x="2278" y="904"/>
                    <a:pt x="2278" y="904"/>
                    <a:pt x="2278" y="904"/>
                  </a:cubicBezTo>
                  <a:cubicBezTo>
                    <a:pt x="2234" y="889"/>
                    <a:pt x="2234" y="889"/>
                    <a:pt x="2234" y="889"/>
                  </a:cubicBezTo>
                  <a:cubicBezTo>
                    <a:pt x="2234" y="889"/>
                    <a:pt x="2247" y="804"/>
                    <a:pt x="2269" y="772"/>
                  </a:cubicBez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206" name="Freeform 22">
              <a:extLst>
                <a:ext uri="{FF2B5EF4-FFF2-40B4-BE49-F238E27FC236}">
                  <a16:creationId xmlns:a16="http://schemas.microsoft.com/office/drawing/2014/main" id="{28349439-6F29-0341-9B06-70F77DFB1586}"/>
                </a:ext>
              </a:extLst>
            </p:cNvPr>
            <p:cNvSpPr>
              <a:spLocks noEditPoints="1"/>
            </p:cNvSpPr>
            <p:nvPr/>
          </p:nvSpPr>
          <p:spPr bwMode="auto">
            <a:xfrm>
              <a:off x="1820" y="754"/>
              <a:ext cx="881" cy="611"/>
            </a:xfrm>
            <a:custGeom>
              <a:avLst/>
              <a:gdLst>
                <a:gd name="T0" fmla="*/ 2190 w 2326"/>
                <a:gd name="T1" fmla="*/ 986 h 1612"/>
                <a:gd name="T2" fmla="*/ 1996 w 2326"/>
                <a:gd name="T3" fmla="*/ 901 h 1612"/>
                <a:gd name="T4" fmla="*/ 1913 w 2326"/>
                <a:gd name="T5" fmla="*/ 625 h 1612"/>
                <a:gd name="T6" fmla="*/ 1683 w 2326"/>
                <a:gd name="T7" fmla="*/ 535 h 1612"/>
                <a:gd name="T8" fmla="*/ 1379 w 2326"/>
                <a:gd name="T9" fmla="*/ 344 h 1612"/>
                <a:gd name="T10" fmla="*/ 1124 w 2326"/>
                <a:gd name="T11" fmla="*/ 486 h 1612"/>
                <a:gd name="T12" fmla="*/ 1281 w 2326"/>
                <a:gd name="T13" fmla="*/ 315 h 1612"/>
                <a:gd name="T14" fmla="*/ 1141 w 2326"/>
                <a:gd name="T15" fmla="*/ 305 h 1612"/>
                <a:gd name="T16" fmla="*/ 770 w 2326"/>
                <a:gd name="T17" fmla="*/ 601 h 1612"/>
                <a:gd name="T18" fmla="*/ 635 w 2326"/>
                <a:gd name="T19" fmla="*/ 654 h 1612"/>
                <a:gd name="T20" fmla="*/ 423 w 2326"/>
                <a:gd name="T21" fmla="*/ 808 h 1612"/>
                <a:gd name="T22" fmla="*/ 267 w 2326"/>
                <a:gd name="T23" fmla="*/ 826 h 1612"/>
                <a:gd name="T24" fmla="*/ 139 w 2326"/>
                <a:gd name="T25" fmla="*/ 886 h 1612"/>
                <a:gd name="T26" fmla="*/ 262 w 2326"/>
                <a:gd name="T27" fmla="*/ 1050 h 1612"/>
                <a:gd name="T28" fmla="*/ 174 w 2326"/>
                <a:gd name="T29" fmla="*/ 1225 h 1612"/>
                <a:gd name="T30" fmla="*/ 287 w 2326"/>
                <a:gd name="T31" fmla="*/ 1393 h 1612"/>
                <a:gd name="T32" fmla="*/ 438 w 2326"/>
                <a:gd name="T33" fmla="*/ 1580 h 1612"/>
                <a:gd name="T34" fmla="*/ 634 w 2326"/>
                <a:gd name="T35" fmla="*/ 1588 h 1612"/>
                <a:gd name="T36" fmla="*/ 922 w 2326"/>
                <a:gd name="T37" fmla="*/ 1365 h 1612"/>
                <a:gd name="T38" fmla="*/ 1213 w 2326"/>
                <a:gd name="T39" fmla="*/ 1463 h 1612"/>
                <a:gd name="T40" fmla="*/ 1562 w 2326"/>
                <a:gd name="T41" fmla="*/ 1482 h 1612"/>
                <a:gd name="T42" fmla="*/ 1879 w 2326"/>
                <a:gd name="T43" fmla="*/ 1276 h 1612"/>
                <a:gd name="T44" fmla="*/ 2014 w 2326"/>
                <a:gd name="T45" fmla="*/ 1167 h 1612"/>
                <a:gd name="T46" fmla="*/ 2228 w 2326"/>
                <a:gd name="T47" fmla="*/ 1241 h 1612"/>
                <a:gd name="T48" fmla="*/ 2254 w 2326"/>
                <a:gd name="T49" fmla="*/ 1387 h 1612"/>
                <a:gd name="T50" fmla="*/ 1964 w 2326"/>
                <a:gd name="T51" fmla="*/ 657 h 1612"/>
                <a:gd name="T52" fmla="*/ 2040 w 2326"/>
                <a:gd name="T53" fmla="*/ 747 h 1612"/>
                <a:gd name="T54" fmla="*/ 2034 w 2326"/>
                <a:gd name="T55" fmla="*/ 830 h 1612"/>
                <a:gd name="T56" fmla="*/ 1928 w 2326"/>
                <a:gd name="T57" fmla="*/ 517 h 1612"/>
                <a:gd name="T58" fmla="*/ 1547 w 2326"/>
                <a:gd name="T59" fmla="*/ 268 h 1612"/>
                <a:gd name="T60" fmla="*/ 1535 w 2326"/>
                <a:gd name="T61" fmla="*/ 394 h 1612"/>
                <a:gd name="T62" fmla="*/ 1713 w 2326"/>
                <a:gd name="T63" fmla="*/ 455 h 1612"/>
                <a:gd name="T64" fmla="*/ 1843 w 2326"/>
                <a:gd name="T65" fmla="*/ 338 h 1612"/>
                <a:gd name="T66" fmla="*/ 1834 w 2326"/>
                <a:gd name="T67" fmla="*/ 391 h 1612"/>
                <a:gd name="T68" fmla="*/ 1793 w 2326"/>
                <a:gd name="T69" fmla="*/ 250 h 1612"/>
                <a:gd name="T70" fmla="*/ 1676 w 2326"/>
                <a:gd name="T71" fmla="*/ 2 h 1612"/>
                <a:gd name="T72" fmla="*/ 1604 w 2326"/>
                <a:gd name="T73" fmla="*/ 127 h 1612"/>
                <a:gd name="T74" fmla="*/ 1675 w 2326"/>
                <a:gd name="T75" fmla="*/ 138 h 1612"/>
                <a:gd name="T76" fmla="*/ 1644 w 2326"/>
                <a:gd name="T77" fmla="*/ 178 h 1612"/>
                <a:gd name="T78" fmla="*/ 2017 w 2326"/>
                <a:gd name="T79" fmla="*/ 442 h 1612"/>
                <a:gd name="T80" fmla="*/ 1496 w 2326"/>
                <a:gd name="T81" fmla="*/ 250 h 1612"/>
                <a:gd name="T82" fmla="*/ 543 w 2326"/>
                <a:gd name="T83" fmla="*/ 742 h 1612"/>
                <a:gd name="T84" fmla="*/ 492 w 2326"/>
                <a:gd name="T85" fmla="*/ 754 h 1612"/>
                <a:gd name="T86" fmla="*/ 1486 w 2326"/>
                <a:gd name="T87" fmla="*/ 221 h 1612"/>
                <a:gd name="T88" fmla="*/ 1577 w 2326"/>
                <a:gd name="T89" fmla="*/ 219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26" h="1612">
                  <a:moveTo>
                    <a:pt x="2326" y="1357"/>
                  </a:moveTo>
                  <a:cubicBezTo>
                    <a:pt x="2322" y="1345"/>
                    <a:pt x="2312" y="1326"/>
                    <a:pt x="2311" y="1323"/>
                  </a:cubicBezTo>
                  <a:cubicBezTo>
                    <a:pt x="2256" y="1224"/>
                    <a:pt x="2298" y="1040"/>
                    <a:pt x="2190" y="986"/>
                  </a:cubicBezTo>
                  <a:cubicBezTo>
                    <a:pt x="2179" y="980"/>
                    <a:pt x="2233" y="954"/>
                    <a:pt x="2216" y="940"/>
                  </a:cubicBezTo>
                  <a:cubicBezTo>
                    <a:pt x="2194" y="923"/>
                    <a:pt x="2114" y="957"/>
                    <a:pt x="2070" y="943"/>
                  </a:cubicBezTo>
                  <a:cubicBezTo>
                    <a:pt x="2061" y="939"/>
                    <a:pt x="2004" y="909"/>
                    <a:pt x="1996" y="901"/>
                  </a:cubicBezTo>
                  <a:cubicBezTo>
                    <a:pt x="1967" y="872"/>
                    <a:pt x="1922" y="858"/>
                    <a:pt x="1960" y="818"/>
                  </a:cubicBezTo>
                  <a:cubicBezTo>
                    <a:pt x="2020" y="755"/>
                    <a:pt x="1964" y="794"/>
                    <a:pt x="1957" y="736"/>
                  </a:cubicBezTo>
                  <a:cubicBezTo>
                    <a:pt x="1949" y="673"/>
                    <a:pt x="1888" y="711"/>
                    <a:pt x="1913" y="625"/>
                  </a:cubicBezTo>
                  <a:cubicBezTo>
                    <a:pt x="1924" y="587"/>
                    <a:pt x="1870" y="590"/>
                    <a:pt x="1874" y="556"/>
                  </a:cubicBezTo>
                  <a:cubicBezTo>
                    <a:pt x="1880" y="516"/>
                    <a:pt x="1729" y="618"/>
                    <a:pt x="1734" y="621"/>
                  </a:cubicBezTo>
                  <a:cubicBezTo>
                    <a:pt x="1723" y="620"/>
                    <a:pt x="1688" y="545"/>
                    <a:pt x="1683" y="535"/>
                  </a:cubicBezTo>
                  <a:cubicBezTo>
                    <a:pt x="1683" y="535"/>
                    <a:pt x="1517" y="447"/>
                    <a:pt x="1510" y="426"/>
                  </a:cubicBezTo>
                  <a:cubicBezTo>
                    <a:pt x="1501" y="395"/>
                    <a:pt x="1448" y="296"/>
                    <a:pt x="1458" y="282"/>
                  </a:cubicBezTo>
                  <a:cubicBezTo>
                    <a:pt x="1443" y="303"/>
                    <a:pt x="1375" y="308"/>
                    <a:pt x="1379" y="344"/>
                  </a:cubicBezTo>
                  <a:cubicBezTo>
                    <a:pt x="1386" y="409"/>
                    <a:pt x="1307" y="340"/>
                    <a:pt x="1318" y="334"/>
                  </a:cubicBezTo>
                  <a:cubicBezTo>
                    <a:pt x="1287" y="350"/>
                    <a:pt x="1247" y="331"/>
                    <a:pt x="1216" y="376"/>
                  </a:cubicBezTo>
                  <a:cubicBezTo>
                    <a:pt x="1150" y="348"/>
                    <a:pt x="1121" y="486"/>
                    <a:pt x="1124" y="486"/>
                  </a:cubicBezTo>
                  <a:cubicBezTo>
                    <a:pt x="1028" y="486"/>
                    <a:pt x="1125" y="411"/>
                    <a:pt x="1102" y="400"/>
                  </a:cubicBezTo>
                  <a:cubicBezTo>
                    <a:pt x="1081" y="389"/>
                    <a:pt x="1182" y="346"/>
                    <a:pt x="1216" y="346"/>
                  </a:cubicBezTo>
                  <a:cubicBezTo>
                    <a:pt x="1197" y="346"/>
                    <a:pt x="1270" y="316"/>
                    <a:pt x="1281" y="315"/>
                  </a:cubicBezTo>
                  <a:cubicBezTo>
                    <a:pt x="1317" y="313"/>
                    <a:pt x="1401" y="328"/>
                    <a:pt x="1418" y="282"/>
                  </a:cubicBezTo>
                  <a:cubicBezTo>
                    <a:pt x="1410" y="304"/>
                    <a:pt x="1324" y="299"/>
                    <a:pt x="1255" y="280"/>
                  </a:cubicBezTo>
                  <a:cubicBezTo>
                    <a:pt x="1212" y="269"/>
                    <a:pt x="1150" y="218"/>
                    <a:pt x="1141" y="305"/>
                  </a:cubicBezTo>
                  <a:cubicBezTo>
                    <a:pt x="1137" y="337"/>
                    <a:pt x="1061" y="351"/>
                    <a:pt x="1037" y="385"/>
                  </a:cubicBezTo>
                  <a:cubicBezTo>
                    <a:pt x="978" y="467"/>
                    <a:pt x="947" y="565"/>
                    <a:pt x="902" y="564"/>
                  </a:cubicBezTo>
                  <a:cubicBezTo>
                    <a:pt x="852" y="563"/>
                    <a:pt x="817" y="601"/>
                    <a:pt x="770" y="601"/>
                  </a:cubicBezTo>
                  <a:cubicBezTo>
                    <a:pt x="727" y="601"/>
                    <a:pt x="714" y="572"/>
                    <a:pt x="676" y="585"/>
                  </a:cubicBezTo>
                  <a:cubicBezTo>
                    <a:pt x="658" y="591"/>
                    <a:pt x="549" y="678"/>
                    <a:pt x="566" y="692"/>
                  </a:cubicBezTo>
                  <a:cubicBezTo>
                    <a:pt x="592" y="714"/>
                    <a:pt x="613" y="654"/>
                    <a:pt x="635" y="654"/>
                  </a:cubicBezTo>
                  <a:cubicBezTo>
                    <a:pt x="621" y="654"/>
                    <a:pt x="566" y="757"/>
                    <a:pt x="564" y="774"/>
                  </a:cubicBezTo>
                  <a:cubicBezTo>
                    <a:pt x="552" y="864"/>
                    <a:pt x="540" y="806"/>
                    <a:pt x="494" y="806"/>
                  </a:cubicBezTo>
                  <a:cubicBezTo>
                    <a:pt x="472" y="806"/>
                    <a:pt x="449" y="808"/>
                    <a:pt x="423" y="808"/>
                  </a:cubicBezTo>
                  <a:cubicBezTo>
                    <a:pt x="451" y="808"/>
                    <a:pt x="402" y="744"/>
                    <a:pt x="380" y="736"/>
                  </a:cubicBezTo>
                  <a:cubicBezTo>
                    <a:pt x="360" y="729"/>
                    <a:pt x="289" y="730"/>
                    <a:pt x="273" y="742"/>
                  </a:cubicBezTo>
                  <a:cubicBezTo>
                    <a:pt x="208" y="791"/>
                    <a:pt x="173" y="786"/>
                    <a:pt x="267" y="826"/>
                  </a:cubicBezTo>
                  <a:cubicBezTo>
                    <a:pt x="229" y="810"/>
                    <a:pt x="186" y="844"/>
                    <a:pt x="147" y="879"/>
                  </a:cubicBezTo>
                  <a:cubicBezTo>
                    <a:pt x="145" y="881"/>
                    <a:pt x="142" y="883"/>
                    <a:pt x="140" y="886"/>
                  </a:cubicBezTo>
                  <a:cubicBezTo>
                    <a:pt x="140" y="886"/>
                    <a:pt x="139" y="886"/>
                    <a:pt x="139" y="886"/>
                  </a:cubicBezTo>
                  <a:cubicBezTo>
                    <a:pt x="152" y="900"/>
                    <a:pt x="152" y="900"/>
                    <a:pt x="152" y="900"/>
                  </a:cubicBezTo>
                  <a:cubicBezTo>
                    <a:pt x="147" y="980"/>
                    <a:pt x="147" y="980"/>
                    <a:pt x="147" y="980"/>
                  </a:cubicBezTo>
                  <a:cubicBezTo>
                    <a:pt x="147" y="980"/>
                    <a:pt x="237" y="1011"/>
                    <a:pt x="262" y="1050"/>
                  </a:cubicBezTo>
                  <a:cubicBezTo>
                    <a:pt x="287" y="1090"/>
                    <a:pt x="249" y="1144"/>
                    <a:pt x="249" y="1144"/>
                  </a:cubicBezTo>
                  <a:cubicBezTo>
                    <a:pt x="185" y="1154"/>
                    <a:pt x="185" y="1154"/>
                    <a:pt x="185" y="1154"/>
                  </a:cubicBezTo>
                  <a:cubicBezTo>
                    <a:pt x="174" y="1225"/>
                    <a:pt x="174" y="1225"/>
                    <a:pt x="174" y="1225"/>
                  </a:cubicBezTo>
                  <a:cubicBezTo>
                    <a:pt x="174" y="1225"/>
                    <a:pt x="0" y="1312"/>
                    <a:pt x="100" y="1373"/>
                  </a:cubicBezTo>
                  <a:cubicBezTo>
                    <a:pt x="199" y="1433"/>
                    <a:pt x="247" y="1389"/>
                    <a:pt x="247" y="1389"/>
                  </a:cubicBezTo>
                  <a:cubicBezTo>
                    <a:pt x="287" y="1393"/>
                    <a:pt x="287" y="1393"/>
                    <a:pt x="287" y="1393"/>
                  </a:cubicBezTo>
                  <a:cubicBezTo>
                    <a:pt x="297" y="1443"/>
                    <a:pt x="297" y="1443"/>
                    <a:pt x="297" y="1443"/>
                  </a:cubicBezTo>
                  <a:cubicBezTo>
                    <a:pt x="399" y="1576"/>
                    <a:pt x="399" y="1576"/>
                    <a:pt x="399" y="1576"/>
                  </a:cubicBezTo>
                  <a:cubicBezTo>
                    <a:pt x="438" y="1580"/>
                    <a:pt x="438" y="1580"/>
                    <a:pt x="438" y="1580"/>
                  </a:cubicBezTo>
                  <a:cubicBezTo>
                    <a:pt x="465" y="1612"/>
                    <a:pt x="465" y="1612"/>
                    <a:pt x="465" y="1612"/>
                  </a:cubicBezTo>
                  <a:cubicBezTo>
                    <a:pt x="467" y="1603"/>
                    <a:pt x="467" y="1603"/>
                    <a:pt x="467" y="1603"/>
                  </a:cubicBezTo>
                  <a:cubicBezTo>
                    <a:pt x="634" y="1588"/>
                    <a:pt x="634" y="1588"/>
                    <a:pt x="634" y="1588"/>
                  </a:cubicBezTo>
                  <a:cubicBezTo>
                    <a:pt x="634" y="1588"/>
                    <a:pt x="615" y="1490"/>
                    <a:pt x="681" y="1479"/>
                  </a:cubicBezTo>
                  <a:cubicBezTo>
                    <a:pt x="748" y="1469"/>
                    <a:pt x="798" y="1498"/>
                    <a:pt x="843" y="1471"/>
                  </a:cubicBezTo>
                  <a:cubicBezTo>
                    <a:pt x="888" y="1445"/>
                    <a:pt x="877" y="1381"/>
                    <a:pt x="922" y="1365"/>
                  </a:cubicBezTo>
                  <a:cubicBezTo>
                    <a:pt x="967" y="1350"/>
                    <a:pt x="1028" y="1363"/>
                    <a:pt x="1028" y="1363"/>
                  </a:cubicBezTo>
                  <a:cubicBezTo>
                    <a:pt x="1060" y="1392"/>
                    <a:pt x="1060" y="1392"/>
                    <a:pt x="1060" y="1392"/>
                  </a:cubicBezTo>
                  <a:cubicBezTo>
                    <a:pt x="1213" y="1463"/>
                    <a:pt x="1213" y="1463"/>
                    <a:pt x="1213" y="1463"/>
                  </a:cubicBezTo>
                  <a:cubicBezTo>
                    <a:pt x="1364" y="1490"/>
                    <a:pt x="1364" y="1490"/>
                    <a:pt x="1364" y="1490"/>
                  </a:cubicBezTo>
                  <a:cubicBezTo>
                    <a:pt x="1364" y="1490"/>
                    <a:pt x="1432" y="1556"/>
                    <a:pt x="1488" y="1535"/>
                  </a:cubicBezTo>
                  <a:cubicBezTo>
                    <a:pt x="1543" y="1514"/>
                    <a:pt x="1562" y="1482"/>
                    <a:pt x="1562" y="1482"/>
                  </a:cubicBezTo>
                  <a:cubicBezTo>
                    <a:pt x="1781" y="1413"/>
                    <a:pt x="1781" y="1413"/>
                    <a:pt x="1781" y="1413"/>
                  </a:cubicBezTo>
                  <a:cubicBezTo>
                    <a:pt x="1813" y="1281"/>
                    <a:pt x="1813" y="1281"/>
                    <a:pt x="1813" y="1281"/>
                  </a:cubicBezTo>
                  <a:cubicBezTo>
                    <a:pt x="1879" y="1276"/>
                    <a:pt x="1879" y="1276"/>
                    <a:pt x="1879" y="1276"/>
                  </a:cubicBezTo>
                  <a:cubicBezTo>
                    <a:pt x="1879" y="1276"/>
                    <a:pt x="1884" y="1217"/>
                    <a:pt x="1919" y="1215"/>
                  </a:cubicBezTo>
                  <a:cubicBezTo>
                    <a:pt x="1953" y="1212"/>
                    <a:pt x="1961" y="1138"/>
                    <a:pt x="1961" y="1138"/>
                  </a:cubicBezTo>
                  <a:cubicBezTo>
                    <a:pt x="2014" y="1167"/>
                    <a:pt x="2014" y="1167"/>
                    <a:pt x="2014" y="1167"/>
                  </a:cubicBezTo>
                  <a:cubicBezTo>
                    <a:pt x="2059" y="1257"/>
                    <a:pt x="2059" y="1257"/>
                    <a:pt x="2059" y="1257"/>
                  </a:cubicBezTo>
                  <a:cubicBezTo>
                    <a:pt x="2146" y="1268"/>
                    <a:pt x="2146" y="1268"/>
                    <a:pt x="2146" y="1268"/>
                  </a:cubicBezTo>
                  <a:cubicBezTo>
                    <a:pt x="2228" y="1241"/>
                    <a:pt x="2228" y="1241"/>
                    <a:pt x="2228" y="1241"/>
                  </a:cubicBezTo>
                  <a:cubicBezTo>
                    <a:pt x="2159" y="1418"/>
                    <a:pt x="2159" y="1418"/>
                    <a:pt x="2159" y="1418"/>
                  </a:cubicBezTo>
                  <a:cubicBezTo>
                    <a:pt x="2265" y="1424"/>
                    <a:pt x="2265" y="1424"/>
                    <a:pt x="2265" y="1424"/>
                  </a:cubicBezTo>
                  <a:cubicBezTo>
                    <a:pt x="2254" y="1387"/>
                    <a:pt x="2254" y="1387"/>
                    <a:pt x="2254" y="1387"/>
                  </a:cubicBezTo>
                  <a:lnTo>
                    <a:pt x="2326" y="1357"/>
                  </a:lnTo>
                  <a:close/>
                  <a:moveTo>
                    <a:pt x="1931" y="658"/>
                  </a:moveTo>
                  <a:cubicBezTo>
                    <a:pt x="1930" y="658"/>
                    <a:pt x="1950" y="676"/>
                    <a:pt x="1964" y="657"/>
                  </a:cubicBezTo>
                  <a:cubicBezTo>
                    <a:pt x="1971" y="666"/>
                    <a:pt x="1983" y="667"/>
                    <a:pt x="1997" y="676"/>
                  </a:cubicBezTo>
                  <a:cubicBezTo>
                    <a:pt x="2004" y="636"/>
                    <a:pt x="2097" y="652"/>
                    <a:pt x="2086" y="743"/>
                  </a:cubicBezTo>
                  <a:cubicBezTo>
                    <a:pt x="2056" y="728"/>
                    <a:pt x="2069" y="740"/>
                    <a:pt x="2040" y="747"/>
                  </a:cubicBezTo>
                  <a:cubicBezTo>
                    <a:pt x="2037" y="737"/>
                    <a:pt x="2039" y="704"/>
                    <a:pt x="2037" y="692"/>
                  </a:cubicBezTo>
                  <a:cubicBezTo>
                    <a:pt x="2002" y="752"/>
                    <a:pt x="2057" y="793"/>
                    <a:pt x="1972" y="827"/>
                  </a:cubicBezTo>
                  <a:cubicBezTo>
                    <a:pt x="1959" y="832"/>
                    <a:pt x="2023" y="833"/>
                    <a:pt x="2034" y="830"/>
                  </a:cubicBezTo>
                  <a:cubicBezTo>
                    <a:pt x="2047" y="825"/>
                    <a:pt x="2219" y="786"/>
                    <a:pt x="2235" y="834"/>
                  </a:cubicBezTo>
                  <a:cubicBezTo>
                    <a:pt x="2217" y="781"/>
                    <a:pt x="2178" y="696"/>
                    <a:pt x="2119" y="674"/>
                  </a:cubicBezTo>
                  <a:cubicBezTo>
                    <a:pt x="2057" y="651"/>
                    <a:pt x="1983" y="528"/>
                    <a:pt x="1928" y="517"/>
                  </a:cubicBezTo>
                  <a:cubicBezTo>
                    <a:pt x="1926" y="517"/>
                    <a:pt x="1933" y="647"/>
                    <a:pt x="1931" y="658"/>
                  </a:cubicBezTo>
                  <a:close/>
                  <a:moveTo>
                    <a:pt x="1612" y="219"/>
                  </a:moveTo>
                  <a:cubicBezTo>
                    <a:pt x="1616" y="236"/>
                    <a:pt x="1537" y="243"/>
                    <a:pt x="1547" y="268"/>
                  </a:cubicBezTo>
                  <a:cubicBezTo>
                    <a:pt x="1552" y="282"/>
                    <a:pt x="1592" y="249"/>
                    <a:pt x="1594" y="280"/>
                  </a:cubicBezTo>
                  <a:cubicBezTo>
                    <a:pt x="1595" y="314"/>
                    <a:pt x="1619" y="318"/>
                    <a:pt x="1566" y="318"/>
                  </a:cubicBezTo>
                  <a:cubicBezTo>
                    <a:pt x="1524" y="318"/>
                    <a:pt x="1521" y="366"/>
                    <a:pt x="1535" y="394"/>
                  </a:cubicBezTo>
                  <a:cubicBezTo>
                    <a:pt x="1549" y="404"/>
                    <a:pt x="1629" y="445"/>
                    <a:pt x="1654" y="435"/>
                  </a:cubicBezTo>
                  <a:cubicBezTo>
                    <a:pt x="1664" y="454"/>
                    <a:pt x="1651" y="452"/>
                    <a:pt x="1651" y="461"/>
                  </a:cubicBezTo>
                  <a:cubicBezTo>
                    <a:pt x="1664" y="466"/>
                    <a:pt x="1709" y="477"/>
                    <a:pt x="1713" y="455"/>
                  </a:cubicBezTo>
                  <a:cubicBezTo>
                    <a:pt x="1718" y="424"/>
                    <a:pt x="1675" y="448"/>
                    <a:pt x="1675" y="427"/>
                  </a:cubicBezTo>
                  <a:cubicBezTo>
                    <a:pt x="1675" y="396"/>
                    <a:pt x="1750" y="398"/>
                    <a:pt x="1719" y="352"/>
                  </a:cubicBezTo>
                  <a:cubicBezTo>
                    <a:pt x="1735" y="350"/>
                    <a:pt x="1835" y="329"/>
                    <a:pt x="1843" y="338"/>
                  </a:cubicBezTo>
                  <a:cubicBezTo>
                    <a:pt x="1849" y="346"/>
                    <a:pt x="1813" y="364"/>
                    <a:pt x="1817" y="366"/>
                  </a:cubicBezTo>
                  <a:cubicBezTo>
                    <a:pt x="1831" y="363"/>
                    <a:pt x="1845" y="360"/>
                    <a:pt x="1859" y="357"/>
                  </a:cubicBezTo>
                  <a:cubicBezTo>
                    <a:pt x="1865" y="363"/>
                    <a:pt x="1826" y="383"/>
                    <a:pt x="1834" y="391"/>
                  </a:cubicBezTo>
                  <a:cubicBezTo>
                    <a:pt x="1836" y="393"/>
                    <a:pt x="1882" y="413"/>
                    <a:pt x="1882" y="413"/>
                  </a:cubicBezTo>
                  <a:cubicBezTo>
                    <a:pt x="1878" y="389"/>
                    <a:pt x="1910" y="338"/>
                    <a:pt x="1910" y="341"/>
                  </a:cubicBezTo>
                  <a:cubicBezTo>
                    <a:pt x="1916" y="315"/>
                    <a:pt x="1800" y="274"/>
                    <a:pt x="1793" y="250"/>
                  </a:cubicBezTo>
                  <a:cubicBezTo>
                    <a:pt x="1773" y="185"/>
                    <a:pt x="1927" y="70"/>
                    <a:pt x="1751" y="109"/>
                  </a:cubicBezTo>
                  <a:cubicBezTo>
                    <a:pt x="1726" y="115"/>
                    <a:pt x="1674" y="77"/>
                    <a:pt x="1677" y="49"/>
                  </a:cubicBezTo>
                  <a:cubicBezTo>
                    <a:pt x="1679" y="33"/>
                    <a:pt x="1741" y="0"/>
                    <a:pt x="1676" y="2"/>
                  </a:cubicBezTo>
                  <a:cubicBezTo>
                    <a:pt x="1642" y="3"/>
                    <a:pt x="1508" y="93"/>
                    <a:pt x="1550" y="124"/>
                  </a:cubicBezTo>
                  <a:cubicBezTo>
                    <a:pt x="1572" y="141"/>
                    <a:pt x="1596" y="68"/>
                    <a:pt x="1599" y="66"/>
                  </a:cubicBezTo>
                  <a:cubicBezTo>
                    <a:pt x="1628" y="53"/>
                    <a:pt x="1601" y="126"/>
                    <a:pt x="1604" y="127"/>
                  </a:cubicBezTo>
                  <a:cubicBezTo>
                    <a:pt x="1630" y="134"/>
                    <a:pt x="1649" y="87"/>
                    <a:pt x="1672" y="87"/>
                  </a:cubicBezTo>
                  <a:cubicBezTo>
                    <a:pt x="1659" y="87"/>
                    <a:pt x="1745" y="157"/>
                    <a:pt x="1745" y="147"/>
                  </a:cubicBezTo>
                  <a:cubicBezTo>
                    <a:pt x="1745" y="287"/>
                    <a:pt x="1695" y="133"/>
                    <a:pt x="1675" y="138"/>
                  </a:cubicBezTo>
                  <a:cubicBezTo>
                    <a:pt x="1664" y="141"/>
                    <a:pt x="1678" y="167"/>
                    <a:pt x="1672" y="167"/>
                  </a:cubicBezTo>
                  <a:cubicBezTo>
                    <a:pt x="1657" y="167"/>
                    <a:pt x="1673" y="118"/>
                    <a:pt x="1658" y="114"/>
                  </a:cubicBezTo>
                  <a:cubicBezTo>
                    <a:pt x="1625" y="105"/>
                    <a:pt x="1634" y="166"/>
                    <a:pt x="1644" y="178"/>
                  </a:cubicBezTo>
                  <a:cubicBezTo>
                    <a:pt x="1632" y="163"/>
                    <a:pt x="1532" y="114"/>
                    <a:pt x="1538" y="156"/>
                  </a:cubicBezTo>
                  <a:cubicBezTo>
                    <a:pt x="1543" y="198"/>
                    <a:pt x="1603" y="182"/>
                    <a:pt x="1612" y="219"/>
                  </a:cubicBezTo>
                  <a:close/>
                  <a:moveTo>
                    <a:pt x="2017" y="442"/>
                  </a:moveTo>
                  <a:cubicBezTo>
                    <a:pt x="2012" y="422"/>
                    <a:pt x="2004" y="419"/>
                    <a:pt x="1991" y="433"/>
                  </a:cubicBezTo>
                  <a:cubicBezTo>
                    <a:pt x="1985" y="473"/>
                    <a:pt x="2009" y="441"/>
                    <a:pt x="2017" y="442"/>
                  </a:cubicBezTo>
                  <a:close/>
                  <a:moveTo>
                    <a:pt x="1496" y="250"/>
                  </a:moveTo>
                  <a:cubicBezTo>
                    <a:pt x="1503" y="238"/>
                    <a:pt x="1450" y="258"/>
                    <a:pt x="1452" y="257"/>
                  </a:cubicBezTo>
                  <a:cubicBezTo>
                    <a:pt x="1458" y="257"/>
                    <a:pt x="1484" y="269"/>
                    <a:pt x="1496" y="250"/>
                  </a:cubicBezTo>
                  <a:close/>
                  <a:moveTo>
                    <a:pt x="543" y="742"/>
                  </a:moveTo>
                  <a:cubicBezTo>
                    <a:pt x="533" y="759"/>
                    <a:pt x="532" y="761"/>
                    <a:pt x="548" y="761"/>
                  </a:cubicBezTo>
                  <a:cubicBezTo>
                    <a:pt x="548" y="757"/>
                    <a:pt x="580" y="705"/>
                    <a:pt x="560" y="702"/>
                  </a:cubicBezTo>
                  <a:cubicBezTo>
                    <a:pt x="555" y="701"/>
                    <a:pt x="465" y="724"/>
                    <a:pt x="492" y="754"/>
                  </a:cubicBezTo>
                  <a:cubicBezTo>
                    <a:pt x="520" y="786"/>
                    <a:pt x="521" y="746"/>
                    <a:pt x="543" y="742"/>
                  </a:cubicBezTo>
                  <a:close/>
                  <a:moveTo>
                    <a:pt x="1525" y="80"/>
                  </a:moveTo>
                  <a:cubicBezTo>
                    <a:pt x="1467" y="55"/>
                    <a:pt x="1480" y="205"/>
                    <a:pt x="1486" y="221"/>
                  </a:cubicBezTo>
                  <a:cubicBezTo>
                    <a:pt x="1501" y="198"/>
                    <a:pt x="1512" y="75"/>
                    <a:pt x="1525" y="80"/>
                  </a:cubicBezTo>
                  <a:close/>
                  <a:moveTo>
                    <a:pt x="1526" y="247"/>
                  </a:moveTo>
                  <a:cubicBezTo>
                    <a:pt x="1543" y="238"/>
                    <a:pt x="1560" y="228"/>
                    <a:pt x="1577" y="219"/>
                  </a:cubicBezTo>
                  <a:cubicBezTo>
                    <a:pt x="1544" y="175"/>
                    <a:pt x="1550" y="223"/>
                    <a:pt x="1526" y="247"/>
                  </a:cubicBezTo>
                  <a:close/>
                </a:path>
              </a:pathLst>
            </a:custGeom>
            <a:solidFill>
              <a:schemeClr val="folHlink"/>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207" name="Freeform 23">
              <a:extLst>
                <a:ext uri="{FF2B5EF4-FFF2-40B4-BE49-F238E27FC236}">
                  <a16:creationId xmlns:a16="http://schemas.microsoft.com/office/drawing/2014/main" id="{D3EA520A-6100-2744-A9CC-30233EE49407}"/>
                </a:ext>
              </a:extLst>
            </p:cNvPr>
            <p:cNvSpPr>
              <a:spLocks noEditPoints="1"/>
            </p:cNvSpPr>
            <p:nvPr/>
          </p:nvSpPr>
          <p:spPr bwMode="auto">
            <a:xfrm>
              <a:off x="1341" y="1027"/>
              <a:ext cx="443" cy="232"/>
            </a:xfrm>
            <a:custGeom>
              <a:avLst/>
              <a:gdLst>
                <a:gd name="T0" fmla="*/ 1125 w 1169"/>
                <a:gd name="T1" fmla="*/ 541 h 613"/>
                <a:gd name="T2" fmla="*/ 1104 w 1169"/>
                <a:gd name="T3" fmla="*/ 491 h 613"/>
                <a:gd name="T4" fmla="*/ 1041 w 1169"/>
                <a:gd name="T5" fmla="*/ 479 h 613"/>
                <a:gd name="T6" fmla="*/ 1035 w 1169"/>
                <a:gd name="T7" fmla="*/ 446 h 613"/>
                <a:gd name="T8" fmla="*/ 1090 w 1169"/>
                <a:gd name="T9" fmla="*/ 417 h 613"/>
                <a:gd name="T10" fmla="*/ 1088 w 1169"/>
                <a:gd name="T11" fmla="*/ 373 h 613"/>
                <a:gd name="T12" fmla="*/ 1065 w 1169"/>
                <a:gd name="T13" fmla="*/ 351 h 613"/>
                <a:gd name="T14" fmla="*/ 1095 w 1169"/>
                <a:gd name="T15" fmla="*/ 282 h 613"/>
                <a:gd name="T16" fmla="*/ 1065 w 1169"/>
                <a:gd name="T17" fmla="*/ 270 h 613"/>
                <a:gd name="T18" fmla="*/ 1002 w 1169"/>
                <a:gd name="T19" fmla="*/ 321 h 613"/>
                <a:gd name="T20" fmla="*/ 963 w 1169"/>
                <a:gd name="T21" fmla="*/ 319 h 613"/>
                <a:gd name="T22" fmla="*/ 967 w 1169"/>
                <a:gd name="T23" fmla="*/ 354 h 613"/>
                <a:gd name="T24" fmla="*/ 910 w 1169"/>
                <a:gd name="T25" fmla="*/ 354 h 613"/>
                <a:gd name="T26" fmla="*/ 886 w 1169"/>
                <a:gd name="T27" fmla="*/ 389 h 613"/>
                <a:gd name="T28" fmla="*/ 815 w 1169"/>
                <a:gd name="T29" fmla="*/ 374 h 613"/>
                <a:gd name="T30" fmla="*/ 724 w 1169"/>
                <a:gd name="T31" fmla="*/ 410 h 613"/>
                <a:gd name="T32" fmla="*/ 834 w 1169"/>
                <a:gd name="T33" fmla="*/ 463 h 613"/>
                <a:gd name="T34" fmla="*/ 751 w 1169"/>
                <a:gd name="T35" fmla="*/ 456 h 613"/>
                <a:gd name="T36" fmla="*/ 844 w 1169"/>
                <a:gd name="T37" fmla="*/ 537 h 613"/>
                <a:gd name="T38" fmla="*/ 910 w 1169"/>
                <a:gd name="T39" fmla="*/ 593 h 613"/>
                <a:gd name="T40" fmla="*/ 976 w 1169"/>
                <a:gd name="T41" fmla="*/ 585 h 613"/>
                <a:gd name="T42" fmla="*/ 1007 w 1169"/>
                <a:gd name="T43" fmla="*/ 548 h 613"/>
                <a:gd name="T44" fmla="*/ 1076 w 1169"/>
                <a:gd name="T45" fmla="*/ 613 h 613"/>
                <a:gd name="T46" fmla="*/ 1167 w 1169"/>
                <a:gd name="T47" fmla="*/ 576 h 613"/>
                <a:gd name="T48" fmla="*/ 1169 w 1169"/>
                <a:gd name="T49" fmla="*/ 542 h 613"/>
                <a:gd name="T50" fmla="*/ 1125 w 1169"/>
                <a:gd name="T51" fmla="*/ 541 h 613"/>
                <a:gd name="T52" fmla="*/ 22 w 1169"/>
                <a:gd name="T53" fmla="*/ 16 h 613"/>
                <a:gd name="T54" fmla="*/ 59 w 1169"/>
                <a:gd name="T55" fmla="*/ 30 h 613"/>
                <a:gd name="T56" fmla="*/ 22 w 1169"/>
                <a:gd name="T57" fmla="*/ 16 h 613"/>
                <a:gd name="T58" fmla="*/ 81 w 1169"/>
                <a:gd name="T59" fmla="*/ 56 h 613"/>
                <a:gd name="T60" fmla="*/ 80 w 1169"/>
                <a:gd name="T61" fmla="*/ 76 h 613"/>
                <a:gd name="T62" fmla="*/ 81 w 1169"/>
                <a:gd name="T63" fmla="*/ 56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9" h="613">
                  <a:moveTo>
                    <a:pt x="1125" y="541"/>
                  </a:moveTo>
                  <a:cubicBezTo>
                    <a:pt x="1104" y="491"/>
                    <a:pt x="1104" y="491"/>
                    <a:pt x="1104" y="491"/>
                  </a:cubicBezTo>
                  <a:cubicBezTo>
                    <a:pt x="1041" y="479"/>
                    <a:pt x="1041" y="479"/>
                    <a:pt x="1041" y="479"/>
                  </a:cubicBezTo>
                  <a:cubicBezTo>
                    <a:pt x="1035" y="446"/>
                    <a:pt x="1035" y="446"/>
                    <a:pt x="1035" y="446"/>
                  </a:cubicBezTo>
                  <a:cubicBezTo>
                    <a:pt x="1090" y="417"/>
                    <a:pt x="1090" y="417"/>
                    <a:pt x="1090" y="417"/>
                  </a:cubicBezTo>
                  <a:cubicBezTo>
                    <a:pt x="1088" y="373"/>
                    <a:pt x="1088" y="373"/>
                    <a:pt x="1088" y="373"/>
                  </a:cubicBezTo>
                  <a:cubicBezTo>
                    <a:pt x="1065" y="351"/>
                    <a:pt x="1065" y="351"/>
                    <a:pt x="1065" y="351"/>
                  </a:cubicBezTo>
                  <a:cubicBezTo>
                    <a:pt x="1095" y="282"/>
                    <a:pt x="1095" y="282"/>
                    <a:pt x="1095" y="282"/>
                  </a:cubicBezTo>
                  <a:cubicBezTo>
                    <a:pt x="1065" y="270"/>
                    <a:pt x="1065" y="270"/>
                    <a:pt x="1065" y="270"/>
                  </a:cubicBezTo>
                  <a:cubicBezTo>
                    <a:pt x="1002" y="321"/>
                    <a:pt x="1002" y="321"/>
                    <a:pt x="1002" y="321"/>
                  </a:cubicBezTo>
                  <a:cubicBezTo>
                    <a:pt x="963" y="319"/>
                    <a:pt x="963" y="319"/>
                    <a:pt x="963" y="319"/>
                  </a:cubicBezTo>
                  <a:cubicBezTo>
                    <a:pt x="967" y="354"/>
                    <a:pt x="967" y="354"/>
                    <a:pt x="967" y="354"/>
                  </a:cubicBezTo>
                  <a:cubicBezTo>
                    <a:pt x="910" y="354"/>
                    <a:pt x="910" y="354"/>
                    <a:pt x="910" y="354"/>
                  </a:cubicBezTo>
                  <a:cubicBezTo>
                    <a:pt x="886" y="389"/>
                    <a:pt x="886" y="389"/>
                    <a:pt x="886" y="389"/>
                  </a:cubicBezTo>
                  <a:cubicBezTo>
                    <a:pt x="815" y="374"/>
                    <a:pt x="815" y="374"/>
                    <a:pt x="815" y="374"/>
                  </a:cubicBezTo>
                  <a:cubicBezTo>
                    <a:pt x="724" y="410"/>
                    <a:pt x="724" y="410"/>
                    <a:pt x="724" y="410"/>
                  </a:cubicBezTo>
                  <a:cubicBezTo>
                    <a:pt x="759" y="445"/>
                    <a:pt x="797" y="469"/>
                    <a:pt x="834" y="463"/>
                  </a:cubicBezTo>
                  <a:cubicBezTo>
                    <a:pt x="804" y="468"/>
                    <a:pt x="776" y="465"/>
                    <a:pt x="751" y="456"/>
                  </a:cubicBezTo>
                  <a:cubicBezTo>
                    <a:pt x="844" y="537"/>
                    <a:pt x="844" y="537"/>
                    <a:pt x="844" y="537"/>
                  </a:cubicBezTo>
                  <a:cubicBezTo>
                    <a:pt x="910" y="593"/>
                    <a:pt x="910" y="593"/>
                    <a:pt x="910" y="593"/>
                  </a:cubicBezTo>
                  <a:cubicBezTo>
                    <a:pt x="976" y="585"/>
                    <a:pt x="976" y="585"/>
                    <a:pt x="976" y="585"/>
                  </a:cubicBezTo>
                  <a:cubicBezTo>
                    <a:pt x="976" y="585"/>
                    <a:pt x="972" y="542"/>
                    <a:pt x="1007" y="548"/>
                  </a:cubicBezTo>
                  <a:cubicBezTo>
                    <a:pt x="1042" y="553"/>
                    <a:pt x="1076" y="613"/>
                    <a:pt x="1076" y="613"/>
                  </a:cubicBezTo>
                  <a:cubicBezTo>
                    <a:pt x="1167" y="576"/>
                    <a:pt x="1167" y="576"/>
                    <a:pt x="1167" y="576"/>
                  </a:cubicBezTo>
                  <a:cubicBezTo>
                    <a:pt x="1169" y="542"/>
                    <a:pt x="1169" y="542"/>
                    <a:pt x="1169" y="542"/>
                  </a:cubicBezTo>
                  <a:lnTo>
                    <a:pt x="1125" y="541"/>
                  </a:lnTo>
                  <a:close/>
                  <a:moveTo>
                    <a:pt x="22" y="16"/>
                  </a:moveTo>
                  <a:cubicBezTo>
                    <a:pt x="0" y="0"/>
                    <a:pt x="39" y="88"/>
                    <a:pt x="59" y="30"/>
                  </a:cubicBezTo>
                  <a:cubicBezTo>
                    <a:pt x="65" y="12"/>
                    <a:pt x="27" y="14"/>
                    <a:pt x="22" y="16"/>
                  </a:cubicBezTo>
                  <a:close/>
                  <a:moveTo>
                    <a:pt x="81" y="56"/>
                  </a:moveTo>
                  <a:cubicBezTo>
                    <a:pt x="53" y="56"/>
                    <a:pt x="57" y="78"/>
                    <a:pt x="80" y="76"/>
                  </a:cubicBezTo>
                  <a:cubicBezTo>
                    <a:pt x="102" y="75"/>
                    <a:pt x="81" y="56"/>
                    <a:pt x="81" y="56"/>
                  </a:cubicBez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208" name="Freeform 24">
              <a:extLst>
                <a:ext uri="{FF2B5EF4-FFF2-40B4-BE49-F238E27FC236}">
                  <a16:creationId xmlns:a16="http://schemas.microsoft.com/office/drawing/2014/main" id="{1A92B0A9-BB65-F34B-A2AD-2FE84A0CF0BC}"/>
                </a:ext>
              </a:extLst>
            </p:cNvPr>
            <p:cNvSpPr>
              <a:spLocks/>
            </p:cNvSpPr>
            <p:nvPr/>
          </p:nvSpPr>
          <p:spPr bwMode="auto">
            <a:xfrm>
              <a:off x="1363" y="1310"/>
              <a:ext cx="114" cy="87"/>
            </a:xfrm>
            <a:custGeom>
              <a:avLst/>
              <a:gdLst>
                <a:gd name="T0" fmla="*/ 0 w 302"/>
                <a:gd name="T1" fmla="*/ 0 h 229"/>
                <a:gd name="T2" fmla="*/ 74 w 302"/>
                <a:gd name="T3" fmla="*/ 10 h 229"/>
                <a:gd name="T4" fmla="*/ 80 w 302"/>
                <a:gd name="T5" fmla="*/ 41 h 229"/>
                <a:gd name="T6" fmla="*/ 130 w 302"/>
                <a:gd name="T7" fmla="*/ 41 h 229"/>
                <a:gd name="T8" fmla="*/ 146 w 302"/>
                <a:gd name="T9" fmla="*/ 76 h 229"/>
                <a:gd name="T10" fmla="*/ 193 w 302"/>
                <a:gd name="T11" fmla="*/ 78 h 229"/>
                <a:gd name="T12" fmla="*/ 220 w 302"/>
                <a:gd name="T13" fmla="*/ 121 h 229"/>
                <a:gd name="T14" fmla="*/ 295 w 302"/>
                <a:gd name="T15" fmla="*/ 86 h 229"/>
                <a:gd name="T16" fmla="*/ 277 w 302"/>
                <a:gd name="T17" fmla="*/ 141 h 229"/>
                <a:gd name="T18" fmla="*/ 289 w 302"/>
                <a:gd name="T19" fmla="*/ 194 h 229"/>
                <a:gd name="T20" fmla="*/ 252 w 302"/>
                <a:gd name="T21" fmla="*/ 229 h 229"/>
                <a:gd name="T22" fmla="*/ 162 w 302"/>
                <a:gd name="T23" fmla="*/ 194 h 229"/>
                <a:gd name="T24" fmla="*/ 121 w 302"/>
                <a:gd name="T25" fmla="*/ 194 h 229"/>
                <a:gd name="T26" fmla="*/ 109 w 302"/>
                <a:gd name="T27" fmla="*/ 153 h 229"/>
                <a:gd name="T28" fmla="*/ 48 w 302"/>
                <a:gd name="T29" fmla="*/ 57 h 229"/>
                <a:gd name="T30" fmla="*/ 19 w 302"/>
                <a:gd name="T31" fmla="*/ 51 h 229"/>
                <a:gd name="T32" fmla="*/ 0 w 302"/>
                <a:gd name="T33"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2" h="229">
                  <a:moveTo>
                    <a:pt x="0" y="0"/>
                  </a:moveTo>
                  <a:cubicBezTo>
                    <a:pt x="74" y="10"/>
                    <a:pt x="74" y="10"/>
                    <a:pt x="74" y="10"/>
                  </a:cubicBezTo>
                  <a:cubicBezTo>
                    <a:pt x="80" y="41"/>
                    <a:pt x="80" y="41"/>
                    <a:pt x="80" y="41"/>
                  </a:cubicBezTo>
                  <a:cubicBezTo>
                    <a:pt x="130" y="41"/>
                    <a:pt x="130" y="41"/>
                    <a:pt x="130" y="41"/>
                  </a:cubicBezTo>
                  <a:cubicBezTo>
                    <a:pt x="146" y="76"/>
                    <a:pt x="146" y="76"/>
                    <a:pt x="146" y="76"/>
                  </a:cubicBezTo>
                  <a:cubicBezTo>
                    <a:pt x="193" y="78"/>
                    <a:pt x="193" y="78"/>
                    <a:pt x="193" y="78"/>
                  </a:cubicBezTo>
                  <a:cubicBezTo>
                    <a:pt x="220" y="121"/>
                    <a:pt x="220" y="121"/>
                    <a:pt x="220" y="121"/>
                  </a:cubicBezTo>
                  <a:cubicBezTo>
                    <a:pt x="220" y="121"/>
                    <a:pt x="287" y="65"/>
                    <a:pt x="295" y="86"/>
                  </a:cubicBezTo>
                  <a:cubicBezTo>
                    <a:pt x="302" y="108"/>
                    <a:pt x="277" y="141"/>
                    <a:pt x="277" y="141"/>
                  </a:cubicBezTo>
                  <a:cubicBezTo>
                    <a:pt x="289" y="194"/>
                    <a:pt x="289" y="194"/>
                    <a:pt x="289" y="194"/>
                  </a:cubicBezTo>
                  <a:cubicBezTo>
                    <a:pt x="252" y="229"/>
                    <a:pt x="252" y="229"/>
                    <a:pt x="252" y="229"/>
                  </a:cubicBezTo>
                  <a:cubicBezTo>
                    <a:pt x="162" y="194"/>
                    <a:pt x="162" y="194"/>
                    <a:pt x="162" y="194"/>
                  </a:cubicBezTo>
                  <a:cubicBezTo>
                    <a:pt x="121" y="194"/>
                    <a:pt x="121" y="194"/>
                    <a:pt x="121" y="194"/>
                  </a:cubicBezTo>
                  <a:cubicBezTo>
                    <a:pt x="109" y="153"/>
                    <a:pt x="109" y="153"/>
                    <a:pt x="109" y="153"/>
                  </a:cubicBezTo>
                  <a:cubicBezTo>
                    <a:pt x="48" y="57"/>
                    <a:pt x="48" y="57"/>
                    <a:pt x="48" y="57"/>
                  </a:cubicBezTo>
                  <a:cubicBezTo>
                    <a:pt x="19" y="51"/>
                    <a:pt x="19" y="51"/>
                    <a:pt x="19" y="51"/>
                  </a:cubicBezTo>
                  <a:lnTo>
                    <a:pt x="0" y="0"/>
                  </a:ln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209" name="Freeform 25">
              <a:extLst>
                <a:ext uri="{FF2B5EF4-FFF2-40B4-BE49-F238E27FC236}">
                  <a16:creationId xmlns:a16="http://schemas.microsoft.com/office/drawing/2014/main" id="{1AAFC576-7941-E044-B685-832AB66AB02A}"/>
                </a:ext>
              </a:extLst>
            </p:cNvPr>
            <p:cNvSpPr>
              <a:spLocks noEditPoints="1"/>
            </p:cNvSpPr>
            <p:nvPr/>
          </p:nvSpPr>
          <p:spPr bwMode="auto">
            <a:xfrm>
              <a:off x="1035" y="2607"/>
              <a:ext cx="778" cy="877"/>
            </a:xfrm>
            <a:custGeom>
              <a:avLst/>
              <a:gdLst>
                <a:gd name="T0" fmla="*/ 2006 w 2054"/>
                <a:gd name="T1" fmla="*/ 1062 h 2316"/>
                <a:gd name="T2" fmla="*/ 1874 w 2054"/>
                <a:gd name="T3" fmla="*/ 768 h 2316"/>
                <a:gd name="T4" fmla="*/ 1826 w 2054"/>
                <a:gd name="T5" fmla="*/ 636 h 2316"/>
                <a:gd name="T6" fmla="*/ 1832 w 2054"/>
                <a:gd name="T7" fmla="*/ 420 h 2316"/>
                <a:gd name="T8" fmla="*/ 1736 w 2054"/>
                <a:gd name="T9" fmla="*/ 348 h 2316"/>
                <a:gd name="T10" fmla="*/ 1676 w 2054"/>
                <a:gd name="T11" fmla="*/ 270 h 2316"/>
                <a:gd name="T12" fmla="*/ 1604 w 2054"/>
                <a:gd name="T13" fmla="*/ 126 h 2316"/>
                <a:gd name="T14" fmla="*/ 1514 w 2054"/>
                <a:gd name="T15" fmla="*/ 54 h 2316"/>
                <a:gd name="T16" fmla="*/ 1340 w 2054"/>
                <a:gd name="T17" fmla="*/ 48 h 2316"/>
                <a:gd name="T18" fmla="*/ 1358 w 2054"/>
                <a:gd name="T19" fmla="*/ 192 h 2316"/>
                <a:gd name="T20" fmla="*/ 1244 w 2054"/>
                <a:gd name="T21" fmla="*/ 246 h 2316"/>
                <a:gd name="T22" fmla="*/ 1148 w 2054"/>
                <a:gd name="T23" fmla="*/ 260 h 2316"/>
                <a:gd name="T24" fmla="*/ 1132 w 2054"/>
                <a:gd name="T25" fmla="*/ 277 h 2316"/>
                <a:gd name="T26" fmla="*/ 1073 w 2054"/>
                <a:gd name="T27" fmla="*/ 319 h 2316"/>
                <a:gd name="T28" fmla="*/ 1017 w 2054"/>
                <a:gd name="T29" fmla="*/ 386 h 2316"/>
                <a:gd name="T30" fmla="*/ 948 w 2054"/>
                <a:gd name="T31" fmla="*/ 413 h 2316"/>
                <a:gd name="T32" fmla="*/ 903 w 2054"/>
                <a:gd name="T33" fmla="*/ 303 h 2316"/>
                <a:gd name="T34" fmla="*/ 817 w 2054"/>
                <a:gd name="T35" fmla="*/ 215 h 2316"/>
                <a:gd name="T36" fmla="*/ 791 w 2054"/>
                <a:gd name="T37" fmla="*/ 293 h 2316"/>
                <a:gd name="T38" fmla="*/ 708 w 2054"/>
                <a:gd name="T39" fmla="*/ 242 h 2316"/>
                <a:gd name="T40" fmla="*/ 759 w 2054"/>
                <a:gd name="T41" fmla="*/ 386 h 2316"/>
                <a:gd name="T42" fmla="*/ 695 w 2054"/>
                <a:gd name="T43" fmla="*/ 583 h 2316"/>
                <a:gd name="T44" fmla="*/ 625 w 2054"/>
                <a:gd name="T45" fmla="*/ 746 h 2316"/>
                <a:gd name="T46" fmla="*/ 567 w 2054"/>
                <a:gd name="T47" fmla="*/ 837 h 2316"/>
                <a:gd name="T48" fmla="*/ 543 w 2054"/>
                <a:gd name="T49" fmla="*/ 868 h 2316"/>
                <a:gd name="T50" fmla="*/ 337 w 2054"/>
                <a:gd name="T51" fmla="*/ 1118 h 2316"/>
                <a:gd name="T52" fmla="*/ 187 w 2054"/>
                <a:gd name="T53" fmla="*/ 1445 h 2316"/>
                <a:gd name="T54" fmla="*/ 90 w 2054"/>
                <a:gd name="T55" fmla="*/ 1860 h 2316"/>
                <a:gd name="T56" fmla="*/ 127 w 2054"/>
                <a:gd name="T57" fmla="*/ 2250 h 2316"/>
                <a:gd name="T58" fmla="*/ 370 w 2054"/>
                <a:gd name="T59" fmla="*/ 2289 h 2316"/>
                <a:gd name="T60" fmla="*/ 681 w 2054"/>
                <a:gd name="T61" fmla="*/ 2264 h 2316"/>
                <a:gd name="T62" fmla="*/ 684 w 2054"/>
                <a:gd name="T63" fmla="*/ 2192 h 2316"/>
                <a:gd name="T64" fmla="*/ 730 w 2054"/>
                <a:gd name="T65" fmla="*/ 2064 h 2316"/>
                <a:gd name="T66" fmla="*/ 881 w 2054"/>
                <a:gd name="T67" fmla="*/ 2165 h 2316"/>
                <a:gd name="T68" fmla="*/ 964 w 2054"/>
                <a:gd name="T69" fmla="*/ 2204 h 2316"/>
                <a:gd name="T70" fmla="*/ 1242 w 2054"/>
                <a:gd name="T71" fmla="*/ 2219 h 2316"/>
                <a:gd name="T72" fmla="*/ 1481 w 2054"/>
                <a:gd name="T73" fmla="*/ 2242 h 2316"/>
                <a:gd name="T74" fmla="*/ 1800 w 2054"/>
                <a:gd name="T75" fmla="*/ 2158 h 2316"/>
                <a:gd name="T76" fmla="*/ 1796 w 2054"/>
                <a:gd name="T77" fmla="*/ 1836 h 2316"/>
                <a:gd name="T78" fmla="*/ 1742 w 2054"/>
                <a:gd name="T79" fmla="*/ 1380 h 2316"/>
                <a:gd name="T80" fmla="*/ 1934 w 2054"/>
                <a:gd name="T81" fmla="*/ 1308 h 2316"/>
                <a:gd name="T82" fmla="*/ 2054 w 2054"/>
                <a:gd name="T83" fmla="*/ 1128 h 2316"/>
                <a:gd name="T84" fmla="*/ 796 w 2054"/>
                <a:gd name="T85" fmla="*/ 2175 h 2316"/>
                <a:gd name="T86" fmla="*/ 839 w 2054"/>
                <a:gd name="T87" fmla="*/ 2142 h 2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54" h="2316">
                  <a:moveTo>
                    <a:pt x="2054" y="1128"/>
                  </a:moveTo>
                  <a:cubicBezTo>
                    <a:pt x="2006" y="1062"/>
                    <a:pt x="2006" y="1062"/>
                    <a:pt x="2006" y="1062"/>
                  </a:cubicBezTo>
                  <a:cubicBezTo>
                    <a:pt x="2012" y="864"/>
                    <a:pt x="2012" y="864"/>
                    <a:pt x="2012" y="864"/>
                  </a:cubicBezTo>
                  <a:cubicBezTo>
                    <a:pt x="1874" y="768"/>
                    <a:pt x="1874" y="768"/>
                    <a:pt x="1874" y="768"/>
                  </a:cubicBezTo>
                  <a:cubicBezTo>
                    <a:pt x="1904" y="708"/>
                    <a:pt x="1904" y="708"/>
                    <a:pt x="1904" y="708"/>
                  </a:cubicBezTo>
                  <a:cubicBezTo>
                    <a:pt x="1826" y="636"/>
                    <a:pt x="1826" y="636"/>
                    <a:pt x="1826" y="636"/>
                  </a:cubicBezTo>
                  <a:cubicBezTo>
                    <a:pt x="1802" y="546"/>
                    <a:pt x="1802" y="546"/>
                    <a:pt x="1802" y="546"/>
                  </a:cubicBezTo>
                  <a:cubicBezTo>
                    <a:pt x="1832" y="420"/>
                    <a:pt x="1832" y="420"/>
                    <a:pt x="1832" y="420"/>
                  </a:cubicBezTo>
                  <a:cubicBezTo>
                    <a:pt x="1778" y="294"/>
                    <a:pt x="1778" y="294"/>
                    <a:pt x="1778" y="294"/>
                  </a:cubicBezTo>
                  <a:cubicBezTo>
                    <a:pt x="1736" y="348"/>
                    <a:pt x="1736" y="348"/>
                    <a:pt x="1736" y="348"/>
                  </a:cubicBezTo>
                  <a:cubicBezTo>
                    <a:pt x="1688" y="354"/>
                    <a:pt x="1688" y="354"/>
                    <a:pt x="1688" y="354"/>
                  </a:cubicBezTo>
                  <a:cubicBezTo>
                    <a:pt x="1676" y="270"/>
                    <a:pt x="1676" y="270"/>
                    <a:pt x="1676" y="270"/>
                  </a:cubicBezTo>
                  <a:cubicBezTo>
                    <a:pt x="1634" y="270"/>
                    <a:pt x="1634" y="270"/>
                    <a:pt x="1634" y="270"/>
                  </a:cubicBezTo>
                  <a:cubicBezTo>
                    <a:pt x="1604" y="126"/>
                    <a:pt x="1604" y="126"/>
                    <a:pt x="1604" y="126"/>
                  </a:cubicBezTo>
                  <a:cubicBezTo>
                    <a:pt x="1520" y="132"/>
                    <a:pt x="1520" y="132"/>
                    <a:pt x="1520" y="132"/>
                  </a:cubicBezTo>
                  <a:cubicBezTo>
                    <a:pt x="1514" y="54"/>
                    <a:pt x="1514" y="54"/>
                    <a:pt x="1514" y="54"/>
                  </a:cubicBezTo>
                  <a:cubicBezTo>
                    <a:pt x="1442" y="66"/>
                    <a:pt x="1442" y="66"/>
                    <a:pt x="1442" y="66"/>
                  </a:cubicBezTo>
                  <a:cubicBezTo>
                    <a:pt x="1442" y="66"/>
                    <a:pt x="1388" y="0"/>
                    <a:pt x="1340" y="48"/>
                  </a:cubicBezTo>
                  <a:cubicBezTo>
                    <a:pt x="1292" y="96"/>
                    <a:pt x="1352" y="120"/>
                    <a:pt x="1352" y="120"/>
                  </a:cubicBezTo>
                  <a:cubicBezTo>
                    <a:pt x="1358" y="192"/>
                    <a:pt x="1358" y="192"/>
                    <a:pt x="1358" y="192"/>
                  </a:cubicBezTo>
                  <a:cubicBezTo>
                    <a:pt x="1280" y="186"/>
                    <a:pt x="1280" y="186"/>
                    <a:pt x="1280" y="186"/>
                  </a:cubicBezTo>
                  <a:cubicBezTo>
                    <a:pt x="1244" y="246"/>
                    <a:pt x="1244" y="246"/>
                    <a:pt x="1244" y="246"/>
                  </a:cubicBezTo>
                  <a:cubicBezTo>
                    <a:pt x="1154" y="264"/>
                    <a:pt x="1154" y="264"/>
                    <a:pt x="1154" y="264"/>
                  </a:cubicBezTo>
                  <a:cubicBezTo>
                    <a:pt x="1154" y="264"/>
                    <a:pt x="1152" y="263"/>
                    <a:pt x="1148" y="260"/>
                  </a:cubicBezTo>
                  <a:cubicBezTo>
                    <a:pt x="1148" y="260"/>
                    <a:pt x="1148" y="260"/>
                    <a:pt x="1148" y="260"/>
                  </a:cubicBezTo>
                  <a:cubicBezTo>
                    <a:pt x="1132" y="277"/>
                    <a:pt x="1132" y="277"/>
                    <a:pt x="1132" y="277"/>
                  </a:cubicBezTo>
                  <a:cubicBezTo>
                    <a:pt x="1132" y="277"/>
                    <a:pt x="1204" y="309"/>
                    <a:pt x="1156" y="322"/>
                  </a:cubicBezTo>
                  <a:cubicBezTo>
                    <a:pt x="1108" y="335"/>
                    <a:pt x="1103" y="325"/>
                    <a:pt x="1073" y="319"/>
                  </a:cubicBezTo>
                  <a:cubicBezTo>
                    <a:pt x="1044" y="314"/>
                    <a:pt x="1044" y="378"/>
                    <a:pt x="1044" y="378"/>
                  </a:cubicBezTo>
                  <a:cubicBezTo>
                    <a:pt x="1017" y="386"/>
                    <a:pt x="1017" y="386"/>
                    <a:pt x="1017" y="386"/>
                  </a:cubicBezTo>
                  <a:cubicBezTo>
                    <a:pt x="980" y="447"/>
                    <a:pt x="980" y="447"/>
                    <a:pt x="980" y="447"/>
                  </a:cubicBezTo>
                  <a:cubicBezTo>
                    <a:pt x="948" y="413"/>
                    <a:pt x="948" y="413"/>
                    <a:pt x="948" y="413"/>
                  </a:cubicBezTo>
                  <a:cubicBezTo>
                    <a:pt x="1001" y="314"/>
                    <a:pt x="1001" y="314"/>
                    <a:pt x="1001" y="314"/>
                  </a:cubicBezTo>
                  <a:cubicBezTo>
                    <a:pt x="903" y="303"/>
                    <a:pt x="903" y="303"/>
                    <a:pt x="903" y="303"/>
                  </a:cubicBezTo>
                  <a:cubicBezTo>
                    <a:pt x="873" y="205"/>
                    <a:pt x="873" y="205"/>
                    <a:pt x="873" y="205"/>
                  </a:cubicBezTo>
                  <a:cubicBezTo>
                    <a:pt x="817" y="215"/>
                    <a:pt x="817" y="215"/>
                    <a:pt x="817" y="215"/>
                  </a:cubicBezTo>
                  <a:cubicBezTo>
                    <a:pt x="831" y="314"/>
                    <a:pt x="831" y="314"/>
                    <a:pt x="831" y="314"/>
                  </a:cubicBezTo>
                  <a:cubicBezTo>
                    <a:pt x="791" y="293"/>
                    <a:pt x="791" y="293"/>
                    <a:pt x="791" y="293"/>
                  </a:cubicBezTo>
                  <a:cubicBezTo>
                    <a:pt x="743" y="239"/>
                    <a:pt x="743" y="239"/>
                    <a:pt x="743" y="239"/>
                  </a:cubicBezTo>
                  <a:cubicBezTo>
                    <a:pt x="708" y="242"/>
                    <a:pt x="708" y="242"/>
                    <a:pt x="708" y="242"/>
                  </a:cubicBezTo>
                  <a:cubicBezTo>
                    <a:pt x="727" y="357"/>
                    <a:pt x="727" y="357"/>
                    <a:pt x="727" y="357"/>
                  </a:cubicBezTo>
                  <a:cubicBezTo>
                    <a:pt x="759" y="386"/>
                    <a:pt x="759" y="386"/>
                    <a:pt x="759" y="386"/>
                  </a:cubicBezTo>
                  <a:cubicBezTo>
                    <a:pt x="745" y="527"/>
                    <a:pt x="745" y="527"/>
                    <a:pt x="745" y="527"/>
                  </a:cubicBezTo>
                  <a:cubicBezTo>
                    <a:pt x="695" y="583"/>
                    <a:pt x="695" y="583"/>
                    <a:pt x="695" y="583"/>
                  </a:cubicBezTo>
                  <a:cubicBezTo>
                    <a:pt x="652" y="725"/>
                    <a:pt x="652" y="725"/>
                    <a:pt x="652" y="725"/>
                  </a:cubicBezTo>
                  <a:cubicBezTo>
                    <a:pt x="625" y="746"/>
                    <a:pt x="625" y="746"/>
                    <a:pt x="625" y="746"/>
                  </a:cubicBezTo>
                  <a:cubicBezTo>
                    <a:pt x="608" y="804"/>
                    <a:pt x="608" y="804"/>
                    <a:pt x="608" y="804"/>
                  </a:cubicBezTo>
                  <a:cubicBezTo>
                    <a:pt x="567" y="837"/>
                    <a:pt x="567" y="837"/>
                    <a:pt x="567" y="837"/>
                  </a:cubicBezTo>
                  <a:cubicBezTo>
                    <a:pt x="526" y="863"/>
                    <a:pt x="526" y="863"/>
                    <a:pt x="526" y="863"/>
                  </a:cubicBezTo>
                  <a:cubicBezTo>
                    <a:pt x="532" y="865"/>
                    <a:pt x="538" y="867"/>
                    <a:pt x="543" y="868"/>
                  </a:cubicBezTo>
                  <a:cubicBezTo>
                    <a:pt x="476" y="909"/>
                    <a:pt x="491" y="980"/>
                    <a:pt x="449" y="1029"/>
                  </a:cubicBezTo>
                  <a:cubicBezTo>
                    <a:pt x="418" y="1065"/>
                    <a:pt x="352" y="1047"/>
                    <a:pt x="337" y="1118"/>
                  </a:cubicBezTo>
                  <a:cubicBezTo>
                    <a:pt x="338" y="1114"/>
                    <a:pt x="255" y="1216"/>
                    <a:pt x="253" y="1218"/>
                  </a:cubicBezTo>
                  <a:cubicBezTo>
                    <a:pt x="264" y="1211"/>
                    <a:pt x="186" y="1442"/>
                    <a:pt x="187" y="1445"/>
                  </a:cubicBezTo>
                  <a:cubicBezTo>
                    <a:pt x="202" y="1489"/>
                    <a:pt x="161" y="1553"/>
                    <a:pt x="130" y="1602"/>
                  </a:cubicBezTo>
                  <a:cubicBezTo>
                    <a:pt x="95" y="1659"/>
                    <a:pt x="103" y="1834"/>
                    <a:pt x="90" y="1860"/>
                  </a:cubicBezTo>
                  <a:cubicBezTo>
                    <a:pt x="35" y="1971"/>
                    <a:pt x="0" y="2134"/>
                    <a:pt x="58" y="2236"/>
                  </a:cubicBezTo>
                  <a:cubicBezTo>
                    <a:pt x="83" y="2234"/>
                    <a:pt x="121" y="2250"/>
                    <a:pt x="127" y="2250"/>
                  </a:cubicBezTo>
                  <a:cubicBezTo>
                    <a:pt x="115" y="2255"/>
                    <a:pt x="103" y="2261"/>
                    <a:pt x="90" y="2266"/>
                  </a:cubicBezTo>
                  <a:cubicBezTo>
                    <a:pt x="152" y="2315"/>
                    <a:pt x="208" y="2218"/>
                    <a:pt x="370" y="2289"/>
                  </a:cubicBezTo>
                  <a:cubicBezTo>
                    <a:pt x="420" y="2310"/>
                    <a:pt x="456" y="2224"/>
                    <a:pt x="537" y="2236"/>
                  </a:cubicBezTo>
                  <a:cubicBezTo>
                    <a:pt x="581" y="2243"/>
                    <a:pt x="608" y="2297"/>
                    <a:pt x="681" y="2264"/>
                  </a:cubicBezTo>
                  <a:cubicBezTo>
                    <a:pt x="677" y="2221"/>
                    <a:pt x="709" y="2205"/>
                    <a:pt x="734" y="2250"/>
                  </a:cubicBezTo>
                  <a:cubicBezTo>
                    <a:pt x="838" y="2174"/>
                    <a:pt x="699" y="2203"/>
                    <a:pt x="684" y="2192"/>
                  </a:cubicBezTo>
                  <a:cubicBezTo>
                    <a:pt x="652" y="2171"/>
                    <a:pt x="630" y="2205"/>
                    <a:pt x="626" y="2149"/>
                  </a:cubicBezTo>
                  <a:cubicBezTo>
                    <a:pt x="624" y="2114"/>
                    <a:pt x="703" y="2068"/>
                    <a:pt x="730" y="2064"/>
                  </a:cubicBezTo>
                  <a:cubicBezTo>
                    <a:pt x="727" y="2055"/>
                    <a:pt x="758" y="2038"/>
                    <a:pt x="776" y="2078"/>
                  </a:cubicBezTo>
                  <a:cubicBezTo>
                    <a:pt x="828" y="2047"/>
                    <a:pt x="849" y="2124"/>
                    <a:pt x="881" y="2165"/>
                  </a:cubicBezTo>
                  <a:cubicBezTo>
                    <a:pt x="888" y="2160"/>
                    <a:pt x="890" y="2125"/>
                    <a:pt x="886" y="2110"/>
                  </a:cubicBezTo>
                  <a:cubicBezTo>
                    <a:pt x="914" y="2140"/>
                    <a:pt x="927" y="2190"/>
                    <a:pt x="964" y="2204"/>
                  </a:cubicBezTo>
                  <a:cubicBezTo>
                    <a:pt x="980" y="2210"/>
                    <a:pt x="1042" y="2161"/>
                    <a:pt x="1087" y="2177"/>
                  </a:cubicBezTo>
                  <a:cubicBezTo>
                    <a:pt x="1138" y="2196"/>
                    <a:pt x="1192" y="2201"/>
                    <a:pt x="1242" y="2219"/>
                  </a:cubicBezTo>
                  <a:cubicBezTo>
                    <a:pt x="1328" y="2250"/>
                    <a:pt x="1349" y="2294"/>
                    <a:pt x="1411" y="2316"/>
                  </a:cubicBezTo>
                  <a:cubicBezTo>
                    <a:pt x="1481" y="2242"/>
                    <a:pt x="1481" y="2242"/>
                    <a:pt x="1481" y="2242"/>
                  </a:cubicBezTo>
                  <a:cubicBezTo>
                    <a:pt x="1616" y="2172"/>
                    <a:pt x="1616" y="2172"/>
                    <a:pt x="1616" y="2172"/>
                  </a:cubicBezTo>
                  <a:cubicBezTo>
                    <a:pt x="1800" y="2158"/>
                    <a:pt x="1800" y="2158"/>
                    <a:pt x="1800" y="2158"/>
                  </a:cubicBezTo>
                  <a:cubicBezTo>
                    <a:pt x="1772" y="1974"/>
                    <a:pt x="1772" y="1974"/>
                    <a:pt x="1772" y="1974"/>
                  </a:cubicBezTo>
                  <a:cubicBezTo>
                    <a:pt x="1796" y="1836"/>
                    <a:pt x="1796" y="1836"/>
                    <a:pt x="1796" y="1836"/>
                  </a:cubicBezTo>
                  <a:cubicBezTo>
                    <a:pt x="1796" y="1836"/>
                    <a:pt x="1790" y="1668"/>
                    <a:pt x="1778" y="1590"/>
                  </a:cubicBezTo>
                  <a:cubicBezTo>
                    <a:pt x="1766" y="1512"/>
                    <a:pt x="1694" y="1440"/>
                    <a:pt x="1742" y="1380"/>
                  </a:cubicBezTo>
                  <a:cubicBezTo>
                    <a:pt x="1790" y="1320"/>
                    <a:pt x="1850" y="1380"/>
                    <a:pt x="1850" y="1380"/>
                  </a:cubicBezTo>
                  <a:cubicBezTo>
                    <a:pt x="1934" y="1308"/>
                    <a:pt x="1934" y="1308"/>
                    <a:pt x="1934" y="1308"/>
                  </a:cubicBezTo>
                  <a:cubicBezTo>
                    <a:pt x="1910" y="1158"/>
                    <a:pt x="1910" y="1158"/>
                    <a:pt x="1910" y="1158"/>
                  </a:cubicBezTo>
                  <a:lnTo>
                    <a:pt x="2054" y="1128"/>
                  </a:lnTo>
                  <a:close/>
                  <a:moveTo>
                    <a:pt x="815" y="2131"/>
                  </a:moveTo>
                  <a:cubicBezTo>
                    <a:pt x="796" y="2175"/>
                    <a:pt x="796" y="2175"/>
                    <a:pt x="796" y="2175"/>
                  </a:cubicBezTo>
                  <a:cubicBezTo>
                    <a:pt x="850" y="2180"/>
                    <a:pt x="850" y="2180"/>
                    <a:pt x="850" y="2180"/>
                  </a:cubicBezTo>
                  <a:cubicBezTo>
                    <a:pt x="839" y="2142"/>
                    <a:pt x="839" y="2142"/>
                    <a:pt x="839" y="2142"/>
                  </a:cubicBezTo>
                  <a:lnTo>
                    <a:pt x="815" y="2131"/>
                  </a:lnTo>
                  <a:close/>
                </a:path>
              </a:pathLst>
            </a:custGeom>
            <a:solidFill>
              <a:srgbClr val="FF5050"/>
            </a:solidFill>
            <a:ln w="6350"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93210" name="Text Box 26">
              <a:extLst>
                <a:ext uri="{FF2B5EF4-FFF2-40B4-BE49-F238E27FC236}">
                  <a16:creationId xmlns:a16="http://schemas.microsoft.com/office/drawing/2014/main" id="{A95A6251-3A56-9F44-A9B6-1214C835BE79}"/>
                </a:ext>
              </a:extLst>
            </p:cNvPr>
            <p:cNvSpPr txBox="1">
              <a:spLocks noChangeArrowheads="1"/>
            </p:cNvSpPr>
            <p:nvPr/>
          </p:nvSpPr>
          <p:spPr bwMode="auto">
            <a:xfrm>
              <a:off x="719" y="2414"/>
              <a:ext cx="488" cy="230"/>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Rheinland-</a:t>
              </a:r>
            </a:p>
            <a:p>
              <a:pPr algn="ctr"/>
              <a:r>
                <a:rPr lang="de-DE" altLang="de-DE" sz="900" b="1">
                  <a:solidFill>
                    <a:schemeClr val="bg1"/>
                  </a:solidFill>
                  <a:cs typeface="Arial" panose="020B0604020202020204" pitchFamily="34" charset="0"/>
                </a:rPr>
                <a:t>Pfalz</a:t>
              </a:r>
            </a:p>
          </p:txBody>
        </p:sp>
        <p:sp>
          <p:nvSpPr>
            <p:cNvPr id="93211" name="Text Box 27">
              <a:extLst>
                <a:ext uri="{FF2B5EF4-FFF2-40B4-BE49-F238E27FC236}">
                  <a16:creationId xmlns:a16="http://schemas.microsoft.com/office/drawing/2014/main" id="{2036EAF9-41A0-E544-8510-FB7E4B0929D8}"/>
                </a:ext>
              </a:extLst>
            </p:cNvPr>
            <p:cNvSpPr txBox="1">
              <a:spLocks noChangeArrowheads="1"/>
            </p:cNvSpPr>
            <p:nvPr/>
          </p:nvSpPr>
          <p:spPr bwMode="auto">
            <a:xfrm>
              <a:off x="1270" y="2248"/>
              <a:ext cx="372"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Hessen</a:t>
              </a:r>
            </a:p>
          </p:txBody>
        </p:sp>
        <p:sp>
          <p:nvSpPr>
            <p:cNvPr id="93212" name="Text Box 28">
              <a:extLst>
                <a:ext uri="{FF2B5EF4-FFF2-40B4-BE49-F238E27FC236}">
                  <a16:creationId xmlns:a16="http://schemas.microsoft.com/office/drawing/2014/main" id="{D2EDF714-B461-BA45-BA96-0D847B38EED8}"/>
                </a:ext>
              </a:extLst>
            </p:cNvPr>
            <p:cNvSpPr txBox="1">
              <a:spLocks noChangeArrowheads="1"/>
            </p:cNvSpPr>
            <p:nvPr/>
          </p:nvSpPr>
          <p:spPr bwMode="auto">
            <a:xfrm>
              <a:off x="1421" y="868"/>
              <a:ext cx="492" cy="230"/>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Schleswig-</a:t>
              </a:r>
            </a:p>
            <a:p>
              <a:pPr algn="ctr"/>
              <a:r>
                <a:rPr lang="de-DE" altLang="de-DE" sz="900" b="1">
                  <a:solidFill>
                    <a:schemeClr val="bg1"/>
                  </a:solidFill>
                  <a:cs typeface="Arial" panose="020B0604020202020204" pitchFamily="34" charset="0"/>
                </a:rPr>
                <a:t>Holstein</a:t>
              </a:r>
            </a:p>
          </p:txBody>
        </p:sp>
        <p:sp>
          <p:nvSpPr>
            <p:cNvPr id="93213" name="Text Box 29">
              <a:extLst>
                <a:ext uri="{FF2B5EF4-FFF2-40B4-BE49-F238E27FC236}">
                  <a16:creationId xmlns:a16="http://schemas.microsoft.com/office/drawing/2014/main" id="{E4B6E587-0EEC-FF40-A93F-1437C59B25CE}"/>
                </a:ext>
              </a:extLst>
            </p:cNvPr>
            <p:cNvSpPr txBox="1">
              <a:spLocks noChangeArrowheads="1"/>
            </p:cNvSpPr>
            <p:nvPr/>
          </p:nvSpPr>
          <p:spPr bwMode="auto">
            <a:xfrm>
              <a:off x="1939" y="2825"/>
              <a:ext cx="360"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Bayern</a:t>
              </a:r>
            </a:p>
          </p:txBody>
        </p:sp>
        <p:sp>
          <p:nvSpPr>
            <p:cNvPr id="93214" name="Text Box 30">
              <a:extLst>
                <a:ext uri="{FF2B5EF4-FFF2-40B4-BE49-F238E27FC236}">
                  <a16:creationId xmlns:a16="http://schemas.microsoft.com/office/drawing/2014/main" id="{0B6B21DF-1CCE-FF49-A71B-F6556B1AD3B8}"/>
                </a:ext>
              </a:extLst>
            </p:cNvPr>
            <p:cNvSpPr txBox="1">
              <a:spLocks noChangeArrowheads="1"/>
            </p:cNvSpPr>
            <p:nvPr/>
          </p:nvSpPr>
          <p:spPr bwMode="auto">
            <a:xfrm>
              <a:off x="2320" y="2039"/>
              <a:ext cx="412" cy="144"/>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Sachsen</a:t>
              </a:r>
            </a:p>
          </p:txBody>
        </p:sp>
        <p:sp>
          <p:nvSpPr>
            <p:cNvPr id="93215" name="Text Box 31">
              <a:extLst>
                <a:ext uri="{FF2B5EF4-FFF2-40B4-BE49-F238E27FC236}">
                  <a16:creationId xmlns:a16="http://schemas.microsoft.com/office/drawing/2014/main" id="{C4814040-52C2-D046-974C-5D0F410B9E67}"/>
                </a:ext>
              </a:extLst>
            </p:cNvPr>
            <p:cNvSpPr txBox="1">
              <a:spLocks noChangeArrowheads="1"/>
            </p:cNvSpPr>
            <p:nvPr/>
          </p:nvSpPr>
          <p:spPr bwMode="auto">
            <a:xfrm>
              <a:off x="844" y="1880"/>
              <a:ext cx="484" cy="230"/>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Nordrhein-</a:t>
              </a:r>
            </a:p>
            <a:p>
              <a:pPr algn="ctr"/>
              <a:r>
                <a:rPr lang="de-DE" altLang="de-DE" sz="900" b="1">
                  <a:solidFill>
                    <a:schemeClr val="bg1"/>
                  </a:solidFill>
                  <a:cs typeface="Arial" panose="020B0604020202020204" pitchFamily="34" charset="0"/>
                </a:rPr>
                <a:t>Westfalen</a:t>
              </a:r>
            </a:p>
          </p:txBody>
        </p:sp>
        <p:sp>
          <p:nvSpPr>
            <p:cNvPr id="93216" name="Text Box 32">
              <a:extLst>
                <a:ext uri="{FF2B5EF4-FFF2-40B4-BE49-F238E27FC236}">
                  <a16:creationId xmlns:a16="http://schemas.microsoft.com/office/drawing/2014/main" id="{488BC891-0064-A041-96E8-AAD7EB72F1D7}"/>
                </a:ext>
              </a:extLst>
            </p:cNvPr>
            <p:cNvSpPr txBox="1">
              <a:spLocks noChangeArrowheads="1"/>
            </p:cNvSpPr>
            <p:nvPr/>
          </p:nvSpPr>
          <p:spPr bwMode="auto">
            <a:xfrm>
              <a:off x="794" y="2705"/>
              <a:ext cx="420"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algn="ctr"/>
              <a:r>
                <a:rPr lang="de-DE" altLang="de-DE" sz="900" b="1">
                  <a:solidFill>
                    <a:schemeClr val="bg1"/>
                  </a:solidFill>
                  <a:cs typeface="Arial" panose="020B0604020202020204" pitchFamily="34" charset="0"/>
                </a:rPr>
                <a:t>Saarland</a:t>
              </a:r>
            </a:p>
          </p:txBody>
        </p:sp>
        <p:sp>
          <p:nvSpPr>
            <p:cNvPr id="93217" name="Text Box 33">
              <a:extLst>
                <a:ext uri="{FF2B5EF4-FFF2-40B4-BE49-F238E27FC236}">
                  <a16:creationId xmlns:a16="http://schemas.microsoft.com/office/drawing/2014/main" id="{EBE061BB-1584-A94B-9FCA-A9AA6E7A2D01}"/>
                </a:ext>
              </a:extLst>
            </p:cNvPr>
            <p:cNvSpPr txBox="1">
              <a:spLocks noChangeArrowheads="1"/>
            </p:cNvSpPr>
            <p:nvPr/>
          </p:nvSpPr>
          <p:spPr bwMode="auto">
            <a:xfrm>
              <a:off x="1293" y="1253"/>
              <a:ext cx="384"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spcBef>
                  <a:spcPct val="50000"/>
                </a:spcBef>
              </a:pPr>
              <a:r>
                <a:rPr lang="de-DE" altLang="de-DE" sz="900" b="1">
                  <a:solidFill>
                    <a:schemeClr val="bg1"/>
                  </a:solidFill>
                  <a:cs typeface="Arial" panose="020B0604020202020204" pitchFamily="34" charset="0"/>
                </a:rPr>
                <a:t>Bremen</a:t>
              </a:r>
            </a:p>
          </p:txBody>
        </p:sp>
        <p:sp>
          <p:nvSpPr>
            <p:cNvPr id="93218" name="Text Box 34">
              <a:extLst>
                <a:ext uri="{FF2B5EF4-FFF2-40B4-BE49-F238E27FC236}">
                  <a16:creationId xmlns:a16="http://schemas.microsoft.com/office/drawing/2014/main" id="{0A2E51AC-D024-C547-84DB-F06907F34A19}"/>
                </a:ext>
              </a:extLst>
            </p:cNvPr>
            <p:cNvSpPr txBox="1">
              <a:spLocks noChangeArrowheads="1"/>
            </p:cNvSpPr>
            <p:nvPr/>
          </p:nvSpPr>
          <p:spPr bwMode="auto">
            <a:xfrm>
              <a:off x="1520" y="1117"/>
              <a:ext cx="432"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Hamburg</a:t>
              </a:r>
            </a:p>
          </p:txBody>
        </p:sp>
        <p:sp>
          <p:nvSpPr>
            <p:cNvPr id="93219" name="Text Box 35">
              <a:extLst>
                <a:ext uri="{FF2B5EF4-FFF2-40B4-BE49-F238E27FC236}">
                  <a16:creationId xmlns:a16="http://schemas.microsoft.com/office/drawing/2014/main" id="{562D9197-19E7-2345-885C-08232A19E170}"/>
                </a:ext>
              </a:extLst>
            </p:cNvPr>
            <p:cNvSpPr txBox="1">
              <a:spLocks noChangeArrowheads="1"/>
            </p:cNvSpPr>
            <p:nvPr/>
          </p:nvSpPr>
          <p:spPr bwMode="auto">
            <a:xfrm>
              <a:off x="1157" y="1389"/>
              <a:ext cx="628"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Niedersachsen</a:t>
              </a:r>
            </a:p>
          </p:txBody>
        </p:sp>
        <p:sp>
          <p:nvSpPr>
            <p:cNvPr id="93220" name="Text Box 36">
              <a:extLst>
                <a:ext uri="{FF2B5EF4-FFF2-40B4-BE49-F238E27FC236}">
                  <a16:creationId xmlns:a16="http://schemas.microsoft.com/office/drawing/2014/main" id="{98549D0E-F679-BC4B-8A97-F4065B5E1B25}"/>
                </a:ext>
              </a:extLst>
            </p:cNvPr>
            <p:cNvSpPr txBox="1">
              <a:spLocks noChangeArrowheads="1"/>
            </p:cNvSpPr>
            <p:nvPr/>
          </p:nvSpPr>
          <p:spPr bwMode="auto">
            <a:xfrm>
              <a:off x="1144" y="2994"/>
              <a:ext cx="564" cy="230"/>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Baden-</a:t>
              </a:r>
            </a:p>
            <a:p>
              <a:pPr algn="ctr"/>
              <a:r>
                <a:rPr lang="de-DE" altLang="de-DE" sz="900" b="1">
                  <a:solidFill>
                    <a:schemeClr val="bg1"/>
                  </a:solidFill>
                  <a:cs typeface="Arial" panose="020B0604020202020204" pitchFamily="34" charset="0"/>
                </a:rPr>
                <a:t>Württemberg</a:t>
              </a:r>
            </a:p>
          </p:txBody>
        </p:sp>
        <p:sp>
          <p:nvSpPr>
            <p:cNvPr id="93221" name="Text Box 37">
              <a:extLst>
                <a:ext uri="{FF2B5EF4-FFF2-40B4-BE49-F238E27FC236}">
                  <a16:creationId xmlns:a16="http://schemas.microsoft.com/office/drawing/2014/main" id="{732F76ED-4D51-F848-8942-07AD079C111B}"/>
                </a:ext>
              </a:extLst>
            </p:cNvPr>
            <p:cNvSpPr txBox="1">
              <a:spLocks noChangeArrowheads="1"/>
            </p:cNvSpPr>
            <p:nvPr/>
          </p:nvSpPr>
          <p:spPr bwMode="auto">
            <a:xfrm>
              <a:off x="1882" y="1525"/>
              <a:ext cx="436" cy="230"/>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Sachsen-</a:t>
              </a:r>
            </a:p>
            <a:p>
              <a:pPr algn="ctr"/>
              <a:r>
                <a:rPr lang="de-DE" altLang="de-DE" sz="900" b="1">
                  <a:solidFill>
                    <a:schemeClr val="bg1"/>
                  </a:solidFill>
                  <a:cs typeface="Arial" panose="020B0604020202020204" pitchFamily="34" charset="0"/>
                </a:rPr>
                <a:t>Anhalt</a:t>
              </a:r>
            </a:p>
          </p:txBody>
        </p:sp>
        <p:sp>
          <p:nvSpPr>
            <p:cNvPr id="93222" name="Text Box 38">
              <a:extLst>
                <a:ext uri="{FF2B5EF4-FFF2-40B4-BE49-F238E27FC236}">
                  <a16:creationId xmlns:a16="http://schemas.microsoft.com/office/drawing/2014/main" id="{C682B18E-3F25-5E47-9E75-AB36FBC19F0B}"/>
                </a:ext>
              </a:extLst>
            </p:cNvPr>
            <p:cNvSpPr txBox="1">
              <a:spLocks noChangeArrowheads="1"/>
            </p:cNvSpPr>
            <p:nvPr/>
          </p:nvSpPr>
          <p:spPr bwMode="auto">
            <a:xfrm>
              <a:off x="1740" y="2148"/>
              <a:ext cx="468"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Thüringen</a:t>
              </a:r>
            </a:p>
          </p:txBody>
        </p:sp>
        <p:sp>
          <p:nvSpPr>
            <p:cNvPr id="93223" name="Text Box 39">
              <a:extLst>
                <a:ext uri="{FF2B5EF4-FFF2-40B4-BE49-F238E27FC236}">
                  <a16:creationId xmlns:a16="http://schemas.microsoft.com/office/drawing/2014/main" id="{B2A5FF36-DFD8-334E-8959-DD480AEAF968}"/>
                </a:ext>
              </a:extLst>
            </p:cNvPr>
            <p:cNvSpPr txBox="1">
              <a:spLocks noChangeArrowheads="1"/>
            </p:cNvSpPr>
            <p:nvPr/>
          </p:nvSpPr>
          <p:spPr bwMode="auto">
            <a:xfrm>
              <a:off x="1953" y="1041"/>
              <a:ext cx="584" cy="230"/>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Mecklenburg-</a:t>
              </a:r>
            </a:p>
            <a:p>
              <a:pPr algn="ctr"/>
              <a:r>
                <a:rPr lang="de-DE" altLang="de-DE" sz="900" b="1">
                  <a:solidFill>
                    <a:schemeClr val="bg1"/>
                  </a:solidFill>
                  <a:cs typeface="Arial" panose="020B0604020202020204" pitchFamily="34" charset="0"/>
                </a:rPr>
                <a:t>Vorpommern</a:t>
              </a:r>
            </a:p>
          </p:txBody>
        </p:sp>
        <p:sp>
          <p:nvSpPr>
            <p:cNvPr id="93224" name="Text Box 40">
              <a:extLst>
                <a:ext uri="{FF2B5EF4-FFF2-40B4-BE49-F238E27FC236}">
                  <a16:creationId xmlns:a16="http://schemas.microsoft.com/office/drawing/2014/main" id="{3B5D3DD5-F16F-A44A-9992-CB88FBC631C6}"/>
                </a:ext>
              </a:extLst>
            </p:cNvPr>
            <p:cNvSpPr txBox="1">
              <a:spLocks noChangeArrowheads="1"/>
            </p:cNvSpPr>
            <p:nvPr/>
          </p:nvSpPr>
          <p:spPr bwMode="auto">
            <a:xfrm>
              <a:off x="2339" y="1498"/>
              <a:ext cx="320" cy="144"/>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Berlin</a:t>
              </a:r>
            </a:p>
          </p:txBody>
        </p:sp>
        <p:sp>
          <p:nvSpPr>
            <p:cNvPr id="93225" name="Text Box 41">
              <a:extLst>
                <a:ext uri="{FF2B5EF4-FFF2-40B4-BE49-F238E27FC236}">
                  <a16:creationId xmlns:a16="http://schemas.microsoft.com/office/drawing/2014/main" id="{E2F9CA71-CE4F-A847-91DB-5F10B805819C}"/>
                </a:ext>
              </a:extLst>
            </p:cNvPr>
            <p:cNvSpPr txBox="1">
              <a:spLocks noChangeArrowheads="1"/>
            </p:cNvSpPr>
            <p:nvPr/>
          </p:nvSpPr>
          <p:spPr bwMode="auto">
            <a:xfrm>
              <a:off x="2258" y="1647"/>
              <a:ext cx="568" cy="144"/>
            </a:xfrm>
            <a:prstGeom prst="rect">
              <a:avLst/>
            </a:prstGeom>
            <a:noFill/>
            <a:ln>
              <a:noFill/>
            </a:ln>
            <a:effectLst/>
            <a:extLst>
              <a:ext uri="{909E8E84-426E-40DD-AFC4-6F175D3DCCD1}">
                <a14:hiddenFill xmlns:a14="http://schemas.microsoft.com/office/drawing/2010/main">
                  <a:solidFill>
                    <a:srgbClr val="0C3C6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r>
                <a:rPr lang="de-DE" altLang="de-DE" sz="900" b="1">
                  <a:solidFill>
                    <a:schemeClr val="bg1"/>
                  </a:solidFill>
                  <a:cs typeface="Arial" panose="020B0604020202020204" pitchFamily="34" charset="0"/>
                </a:rPr>
                <a:t>Brandenburg</a:t>
              </a:r>
            </a:p>
          </p:txBody>
        </p:sp>
      </p:grpSp>
      <p:sp>
        <p:nvSpPr>
          <p:cNvPr id="93228" name="AutoShape 44">
            <a:extLst>
              <a:ext uri="{FF2B5EF4-FFF2-40B4-BE49-F238E27FC236}">
                <a16:creationId xmlns:a16="http://schemas.microsoft.com/office/drawing/2014/main" id="{18E50321-F566-5A43-95D5-2D6C9F0A3FA9}"/>
              </a:ext>
            </a:extLst>
          </p:cNvPr>
          <p:cNvSpPr>
            <a:spLocks noChangeArrowheads="1"/>
          </p:cNvSpPr>
          <p:nvPr/>
        </p:nvSpPr>
        <p:spPr bwMode="auto">
          <a:xfrm>
            <a:off x="2051050" y="1989138"/>
            <a:ext cx="1944688" cy="863600"/>
          </a:xfrm>
          <a:prstGeom prst="rightArrow">
            <a:avLst>
              <a:gd name="adj1" fmla="val 50000"/>
              <a:gd name="adj2" fmla="val 56296"/>
            </a:avLst>
          </a:prstGeom>
          <a:solidFill>
            <a:srgbClr val="99FF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93229" name="AutoShape 45">
            <a:extLst>
              <a:ext uri="{FF2B5EF4-FFF2-40B4-BE49-F238E27FC236}">
                <a16:creationId xmlns:a16="http://schemas.microsoft.com/office/drawing/2014/main" id="{0534C018-93AB-A744-B5B7-25B6D7E3D2BC}"/>
              </a:ext>
            </a:extLst>
          </p:cNvPr>
          <p:cNvSpPr>
            <a:spLocks noChangeArrowheads="1"/>
          </p:cNvSpPr>
          <p:nvPr/>
        </p:nvSpPr>
        <p:spPr bwMode="auto">
          <a:xfrm>
            <a:off x="2339975" y="2997200"/>
            <a:ext cx="1079500" cy="288925"/>
          </a:xfrm>
          <a:prstGeom prst="leftArrow">
            <a:avLst>
              <a:gd name="adj1" fmla="val 50000"/>
              <a:gd name="adj2" fmla="val 93407"/>
            </a:avLst>
          </a:prstGeom>
          <a:solidFill>
            <a:srgbClr val="FF66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93230" name="Text Box 46">
            <a:extLst>
              <a:ext uri="{FF2B5EF4-FFF2-40B4-BE49-F238E27FC236}">
                <a16:creationId xmlns:a16="http://schemas.microsoft.com/office/drawing/2014/main" id="{6F46C8A9-8634-0B40-93E8-BD1D425538F5}"/>
              </a:ext>
            </a:extLst>
          </p:cNvPr>
          <p:cNvSpPr txBox="1">
            <a:spLocks noChangeArrowheads="1"/>
          </p:cNvSpPr>
          <p:nvPr/>
        </p:nvSpPr>
        <p:spPr bwMode="auto">
          <a:xfrm>
            <a:off x="5435600" y="2060575"/>
            <a:ext cx="2301875"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de-DE" sz="4000"/>
              <a:t>Go East! </a:t>
            </a:r>
            <a:endParaRPr lang="de-DE" altLang="de-DE" sz="4000">
              <a:sym typeface="Wingdings" pitchFamily="2" charset="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withEffect">
                                  <p:stCondLst>
                                    <p:cond delay="0"/>
                                  </p:stCondLst>
                                  <p:childTnLst>
                                    <p:set>
                                      <p:cBhvr>
                                        <p:cTn id="6" dur="1" fill="hold">
                                          <p:stCondLst>
                                            <p:cond delay="0"/>
                                          </p:stCondLst>
                                        </p:cTn>
                                        <p:tgtEl>
                                          <p:spTgt spid="93230"/>
                                        </p:tgtEl>
                                        <p:attrNameLst>
                                          <p:attrName>style.visibility</p:attrName>
                                        </p:attrNameLst>
                                      </p:cBhvr>
                                      <p:to>
                                        <p:strVal val="visible"/>
                                      </p:to>
                                    </p:set>
                                    <p:anim calcmode="lin" valueType="num">
                                      <p:cBhvr additive="base">
                                        <p:cTn id="7" dur="2000" fill="hold"/>
                                        <p:tgtEl>
                                          <p:spTgt spid="93230"/>
                                        </p:tgtEl>
                                        <p:attrNameLst>
                                          <p:attrName>ppt_x</p:attrName>
                                        </p:attrNameLst>
                                      </p:cBhvr>
                                      <p:tavLst>
                                        <p:tav tm="0">
                                          <p:val>
                                            <p:strVal val="0-#ppt_w/2"/>
                                          </p:val>
                                        </p:tav>
                                        <p:tav tm="100000">
                                          <p:val>
                                            <p:strVal val="#ppt_x"/>
                                          </p:val>
                                        </p:tav>
                                      </p:tavLst>
                                    </p:anim>
                                    <p:anim calcmode="lin" valueType="num">
                                      <p:cBhvr additive="base">
                                        <p:cTn id="8" dur="2000" fill="hold"/>
                                        <p:tgtEl>
                                          <p:spTgt spid="932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23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40D74ED5-858C-E545-B6DC-3983D8ABB5F2}"/>
              </a:ext>
            </a:extLst>
          </p:cNvPr>
          <p:cNvSpPr>
            <a:spLocks noGrp="1"/>
          </p:cNvSpPr>
          <p:nvPr>
            <p:ph type="ftr" sz="quarter" idx="10"/>
          </p:nvPr>
        </p:nvSpPr>
        <p:spPr/>
        <p:txBody>
          <a:bodyPr/>
          <a:lstStyle/>
          <a:p>
            <a:r>
              <a:rPr lang="de-DE" altLang="de-DE"/>
              <a:t>Studienanfängerhoch und Mobilität | Detlef Müller-Böling | 27.08.2007</a:t>
            </a:r>
          </a:p>
        </p:txBody>
      </p:sp>
      <p:sp>
        <p:nvSpPr>
          <p:cNvPr id="5" name="Foliennummernplatzhalter 4">
            <a:extLst>
              <a:ext uri="{FF2B5EF4-FFF2-40B4-BE49-F238E27FC236}">
                <a16:creationId xmlns:a16="http://schemas.microsoft.com/office/drawing/2014/main" id="{8898DE44-4FB8-AF41-8D71-5297716076B4}"/>
              </a:ext>
            </a:extLst>
          </p:cNvPr>
          <p:cNvSpPr>
            <a:spLocks noGrp="1"/>
          </p:cNvSpPr>
          <p:nvPr>
            <p:ph type="sldNum" sz="quarter" idx="11"/>
          </p:nvPr>
        </p:nvSpPr>
        <p:spPr/>
        <p:txBody>
          <a:bodyPr/>
          <a:lstStyle/>
          <a:p>
            <a:fld id="{F1D4F071-4E1A-5842-A62D-491AF7B93A1F}" type="slidenum">
              <a:rPr lang="de-DE" altLang="de-DE"/>
              <a:pPr/>
              <a:t>16</a:t>
            </a:fld>
            <a:endParaRPr lang="de-DE" altLang="de-DE"/>
          </a:p>
        </p:txBody>
      </p:sp>
      <p:sp>
        <p:nvSpPr>
          <p:cNvPr id="104453" name="Rectangle 5">
            <a:extLst>
              <a:ext uri="{FF2B5EF4-FFF2-40B4-BE49-F238E27FC236}">
                <a16:creationId xmlns:a16="http://schemas.microsoft.com/office/drawing/2014/main" id="{1B197B43-7C18-4746-9C4D-4BD4F6604CBA}"/>
              </a:ext>
            </a:extLst>
          </p:cNvPr>
          <p:cNvSpPr>
            <a:spLocks noGrp="1" noChangeArrowheads="1"/>
          </p:cNvSpPr>
          <p:nvPr>
            <p:ph type="title"/>
          </p:nvPr>
        </p:nvSpPr>
        <p:spPr/>
        <p:txBody>
          <a:bodyPr/>
          <a:lstStyle/>
          <a:p>
            <a:r>
              <a:rPr lang="de-DE" altLang="de-DE"/>
              <a:t>Mobilitätsraten im Vergleich</a:t>
            </a:r>
          </a:p>
        </p:txBody>
      </p:sp>
      <p:graphicFrame>
        <p:nvGraphicFramePr>
          <p:cNvPr id="104452" name="Object 4">
            <a:extLst>
              <a:ext uri="{FF2B5EF4-FFF2-40B4-BE49-F238E27FC236}">
                <a16:creationId xmlns:a16="http://schemas.microsoft.com/office/drawing/2014/main" id="{3FDE7EEB-6FCE-E24F-9B6B-3B9845C2AC87}"/>
              </a:ext>
            </a:extLst>
          </p:cNvPr>
          <p:cNvGraphicFramePr>
            <a:graphicFrameLocks noChangeAspect="1"/>
          </p:cNvGraphicFramePr>
          <p:nvPr>
            <p:ph idx="1"/>
          </p:nvPr>
        </p:nvGraphicFramePr>
        <p:xfrm>
          <a:off x="539750" y="1466850"/>
          <a:ext cx="7704138" cy="4652963"/>
        </p:xfrm>
        <a:graphic>
          <a:graphicData uri="http://schemas.openxmlformats.org/presentationml/2006/ole">
            <mc:AlternateContent xmlns:mc="http://schemas.openxmlformats.org/markup-compatibility/2006">
              <mc:Choice xmlns:v="urn:schemas-microsoft-com:vml" Requires="v">
                <p:oleObj spid="_x0000_s104455" name="Diagramm" r:id="rId4" imgW="4673600" imgH="2832100" progId="Excel.Chart.8">
                  <p:embed/>
                </p:oleObj>
              </mc:Choice>
              <mc:Fallback>
                <p:oleObj name="Diagramm" r:id="rId4" imgW="4673600" imgH="2832100" progId="Excel.Chart.8">
                  <p:embed/>
                  <p:pic>
                    <p:nvPicPr>
                      <p:cNvPr id="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750" y="1466850"/>
                        <a:ext cx="7704138" cy="4652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4452">
                                            <p:oleChartEl type="gridLegend"/>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4452">
                                            <p:oleChartEl type="series" lvl="1"/>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4452">
                                            <p:oleChartEl type="series" lvl="2"/>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4452">
                                            <p:oleChartEl type="series" lvl="3"/>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104452" grpId="0" uiExpand="1" bld="series"/>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3199F461-5A4F-C547-A4BC-0661458DF047}"/>
              </a:ext>
            </a:extLst>
          </p:cNvPr>
          <p:cNvSpPr>
            <a:spLocks noGrp="1"/>
          </p:cNvSpPr>
          <p:nvPr>
            <p:ph type="ftr" sz="quarter" idx="10"/>
          </p:nvPr>
        </p:nvSpPr>
        <p:spPr/>
        <p:txBody>
          <a:bodyPr/>
          <a:lstStyle/>
          <a:p>
            <a:r>
              <a:rPr lang="de-DE" altLang="de-DE"/>
              <a:t>Studienanfängerhoch und Mobilität | Detlef Müller-Böling | 27.08.2007</a:t>
            </a:r>
          </a:p>
        </p:txBody>
      </p:sp>
      <p:sp>
        <p:nvSpPr>
          <p:cNvPr id="5" name="Foliennummernplatzhalter 4">
            <a:extLst>
              <a:ext uri="{FF2B5EF4-FFF2-40B4-BE49-F238E27FC236}">
                <a16:creationId xmlns:a16="http://schemas.microsoft.com/office/drawing/2014/main" id="{41AF8BAF-E606-3540-BE6C-BE7E035F6A91}"/>
              </a:ext>
            </a:extLst>
          </p:cNvPr>
          <p:cNvSpPr>
            <a:spLocks noGrp="1"/>
          </p:cNvSpPr>
          <p:nvPr>
            <p:ph type="sldNum" sz="quarter" idx="11"/>
          </p:nvPr>
        </p:nvSpPr>
        <p:spPr/>
        <p:txBody>
          <a:bodyPr/>
          <a:lstStyle/>
          <a:p>
            <a:fld id="{D56FEF45-69E4-BD48-899F-ACD9B65221D0}" type="slidenum">
              <a:rPr lang="de-DE" altLang="de-DE"/>
              <a:pPr/>
              <a:t>17</a:t>
            </a:fld>
            <a:endParaRPr lang="de-DE" altLang="de-DE"/>
          </a:p>
        </p:txBody>
      </p:sp>
      <p:sp>
        <p:nvSpPr>
          <p:cNvPr id="99333" name="Rectangle 5">
            <a:extLst>
              <a:ext uri="{FF2B5EF4-FFF2-40B4-BE49-F238E27FC236}">
                <a16:creationId xmlns:a16="http://schemas.microsoft.com/office/drawing/2014/main" id="{BE8A1DF6-C8DC-0B42-8A52-EC3300096236}"/>
              </a:ext>
            </a:extLst>
          </p:cNvPr>
          <p:cNvSpPr>
            <a:spLocks noGrp="1" noChangeArrowheads="1"/>
          </p:cNvSpPr>
          <p:nvPr>
            <p:ph type="title"/>
          </p:nvPr>
        </p:nvSpPr>
        <p:spPr/>
        <p:txBody>
          <a:bodyPr/>
          <a:lstStyle/>
          <a:p>
            <a:r>
              <a:rPr lang="de-DE" altLang="de-DE"/>
              <a:t>Einsparpotentiale durch erhöhte Mobilität</a:t>
            </a:r>
          </a:p>
        </p:txBody>
      </p:sp>
      <p:graphicFrame>
        <p:nvGraphicFramePr>
          <p:cNvPr id="99332" name="Object 4">
            <a:extLst>
              <a:ext uri="{FF2B5EF4-FFF2-40B4-BE49-F238E27FC236}">
                <a16:creationId xmlns:a16="http://schemas.microsoft.com/office/drawing/2014/main" id="{66A91146-1719-3148-BC27-74EFADBED6EC}"/>
              </a:ext>
            </a:extLst>
          </p:cNvPr>
          <p:cNvGraphicFramePr>
            <a:graphicFrameLocks noChangeAspect="1"/>
          </p:cNvGraphicFramePr>
          <p:nvPr>
            <p:ph idx="1"/>
          </p:nvPr>
        </p:nvGraphicFramePr>
        <p:xfrm>
          <a:off x="457200" y="1639888"/>
          <a:ext cx="8229600" cy="4524375"/>
        </p:xfrm>
        <a:graphic>
          <a:graphicData uri="http://schemas.openxmlformats.org/presentationml/2006/ole">
            <mc:AlternateContent xmlns:mc="http://schemas.openxmlformats.org/markup-compatibility/2006">
              <mc:Choice xmlns:v="urn:schemas-microsoft-com:vml" Requires="v">
                <p:oleObj spid="_x0000_s99335" name="Diagramm" r:id="rId4" imgW="8242300" imgH="4533900" progId="MSGraph.Chart.8">
                  <p:embed/>
                </p:oleObj>
              </mc:Choice>
              <mc:Fallback>
                <p:oleObj name="Diagramm" r:id="rId4" imgW="8242300" imgH="4533900" progId="MSGraph.Chart.8">
                  <p:embed/>
                  <p:pic>
                    <p:nvPicPr>
                      <p:cNvPr id="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 y="1639888"/>
                        <a:ext cx="8229600" cy="4524375"/>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99332">
                                            <p:oleChartEl type="gridLegend"/>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3" presetClass="entr" presetSubtype="10" fill="hold" grpId="0" nodeType="clickEffect">
                                  <p:stCondLst>
                                    <p:cond delay="0"/>
                                  </p:stCondLst>
                                  <p:childTnLst>
                                    <p:set>
                                      <p:cBhvr>
                                        <p:cTn id="10" dur="1" fill="hold">
                                          <p:stCondLst>
                                            <p:cond delay="0"/>
                                          </p:stCondLst>
                                        </p:cTn>
                                        <p:tgtEl>
                                          <p:spTgt spid="99332">
                                            <p:oleChartEl type="ptInCategory" lvl="1"/>
                                          </p:spTgt>
                                        </p:tgtEl>
                                        <p:attrNameLst>
                                          <p:attrName>style.visibility</p:attrName>
                                        </p:attrNameLst>
                                      </p:cBhvr>
                                      <p:to>
                                        <p:strVal val="visible"/>
                                      </p:to>
                                    </p:set>
                                    <p:animEffect transition="in" filter="blinds(horizontal)">
                                      <p:cBhvr>
                                        <p:cTn id="11" dur="500"/>
                                        <p:tgtEl>
                                          <p:spTgt spid="99332">
                                            <p:oleChartEl type="ptInCategory" lvl="1"/>
                                          </p:spTgt>
                                        </p:tgtEl>
                                      </p:cBhvr>
                                    </p:animEffect>
                                  </p:childTnLst>
                                </p:cTn>
                              </p:par>
                            </p:childTnLst>
                          </p:cTn>
                        </p:par>
                        <p:par>
                          <p:cTn id="12" fill="hold" nodeType="afterGroup">
                            <p:stCondLst>
                              <p:cond delay="500"/>
                            </p:stCondLst>
                            <p:childTnLst>
                              <p:par>
                                <p:cTn id="13" presetID="3" presetClass="entr" presetSubtype="10" fill="hold" grpId="0" nodeType="afterEffect">
                                  <p:stCondLst>
                                    <p:cond delay="0"/>
                                  </p:stCondLst>
                                  <p:childTnLst>
                                    <p:set>
                                      <p:cBhvr>
                                        <p:cTn id="14" dur="1" fill="hold">
                                          <p:stCondLst>
                                            <p:cond delay="0"/>
                                          </p:stCondLst>
                                        </p:cTn>
                                        <p:tgtEl>
                                          <p:spTgt spid="99332">
                                            <p:oleChartEl type="ptInCategory" lvl="2"/>
                                          </p:spTgt>
                                        </p:tgtEl>
                                        <p:attrNameLst>
                                          <p:attrName>style.visibility</p:attrName>
                                        </p:attrNameLst>
                                      </p:cBhvr>
                                      <p:to>
                                        <p:strVal val="visible"/>
                                      </p:to>
                                    </p:set>
                                    <p:animEffect transition="in" filter="blinds(horizontal)">
                                      <p:cBhvr>
                                        <p:cTn id="15" dur="500"/>
                                        <p:tgtEl>
                                          <p:spTgt spid="99332">
                                            <p:oleChartEl type="ptInCategory" lvl="2"/>
                                          </p:spTgt>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3" presetClass="entr" presetSubtype="10" fill="hold" grpId="0" nodeType="clickEffect">
                                  <p:stCondLst>
                                    <p:cond delay="0"/>
                                  </p:stCondLst>
                                  <p:childTnLst>
                                    <p:set>
                                      <p:cBhvr>
                                        <p:cTn id="19" dur="1" fill="hold">
                                          <p:stCondLst>
                                            <p:cond delay="0"/>
                                          </p:stCondLst>
                                        </p:cTn>
                                        <p:tgtEl>
                                          <p:spTgt spid="99332">
                                            <p:oleChartEl type="ptInCategory" lvl="3"/>
                                          </p:spTgt>
                                        </p:tgtEl>
                                        <p:attrNameLst>
                                          <p:attrName>style.visibility</p:attrName>
                                        </p:attrNameLst>
                                      </p:cBhvr>
                                      <p:to>
                                        <p:strVal val="visible"/>
                                      </p:to>
                                    </p:set>
                                    <p:animEffect transition="in" filter="blinds(horizontal)">
                                      <p:cBhvr>
                                        <p:cTn id="20" dur="500"/>
                                        <p:tgtEl>
                                          <p:spTgt spid="99332">
                                            <p:oleChartEl type="ptInCategory" lvl="3"/>
                                          </p:spTgt>
                                        </p:tgtEl>
                                      </p:cBhvr>
                                    </p:animEffect>
                                  </p:childTnLst>
                                </p:cTn>
                              </p:par>
                            </p:childTnLst>
                          </p:cTn>
                        </p:par>
                        <p:par>
                          <p:cTn id="21" fill="hold" nodeType="afterGroup">
                            <p:stCondLst>
                              <p:cond delay="500"/>
                            </p:stCondLst>
                            <p:childTnLst>
                              <p:par>
                                <p:cTn id="22" presetID="3" presetClass="entr" presetSubtype="10" fill="hold" grpId="0" nodeType="afterEffect">
                                  <p:stCondLst>
                                    <p:cond delay="0"/>
                                  </p:stCondLst>
                                  <p:childTnLst>
                                    <p:set>
                                      <p:cBhvr>
                                        <p:cTn id="23" dur="1" fill="hold">
                                          <p:stCondLst>
                                            <p:cond delay="0"/>
                                          </p:stCondLst>
                                        </p:cTn>
                                        <p:tgtEl>
                                          <p:spTgt spid="99332">
                                            <p:oleChartEl type="ptInCategory" lvl="4"/>
                                          </p:spTgt>
                                        </p:tgtEl>
                                        <p:attrNameLst>
                                          <p:attrName>style.visibility</p:attrName>
                                        </p:attrNameLst>
                                      </p:cBhvr>
                                      <p:to>
                                        <p:strVal val="visible"/>
                                      </p:to>
                                    </p:set>
                                    <p:animEffect transition="in" filter="blinds(horizontal)">
                                      <p:cBhvr>
                                        <p:cTn id="24" dur="500"/>
                                        <p:tgtEl>
                                          <p:spTgt spid="99332">
                                            <p:oleChartEl type="ptInCategory" lvl="4"/>
                                          </p:spTgt>
                                        </p:tgtEl>
                                      </p:cBhvr>
                                    </p:animEffect>
                                  </p:childTnLst>
                                </p:cTn>
                              </p:par>
                            </p:childTnLst>
                          </p:cTn>
                        </p:par>
                      </p:childTnLst>
                    </p:cTn>
                  </p:par>
                  <p:par>
                    <p:cTn id="25" fill="hold" nodeType="clickPar">
                      <p:stCondLst>
                        <p:cond delay="indefinite"/>
                      </p:stCondLst>
                      <p:childTnLst>
                        <p:par>
                          <p:cTn id="26" fill="hold" nodeType="withGroup">
                            <p:stCondLst>
                              <p:cond delay="0"/>
                            </p:stCondLst>
                            <p:childTnLst>
                              <p:par>
                                <p:cTn id="27" presetID="3" presetClass="entr" presetSubtype="10" fill="hold" grpId="0" nodeType="clickEffect">
                                  <p:stCondLst>
                                    <p:cond delay="0"/>
                                  </p:stCondLst>
                                  <p:childTnLst>
                                    <p:set>
                                      <p:cBhvr>
                                        <p:cTn id="28" dur="1" fill="hold">
                                          <p:stCondLst>
                                            <p:cond delay="0"/>
                                          </p:stCondLst>
                                        </p:cTn>
                                        <p:tgtEl>
                                          <p:spTgt spid="99332">
                                            <p:oleChartEl type="ptInCategory" lvl="5"/>
                                          </p:spTgt>
                                        </p:tgtEl>
                                        <p:attrNameLst>
                                          <p:attrName>style.visibility</p:attrName>
                                        </p:attrNameLst>
                                      </p:cBhvr>
                                      <p:to>
                                        <p:strVal val="visible"/>
                                      </p:to>
                                    </p:set>
                                    <p:animEffect transition="in" filter="blinds(horizontal)">
                                      <p:cBhvr>
                                        <p:cTn id="29" dur="500"/>
                                        <p:tgtEl>
                                          <p:spTgt spid="99332">
                                            <p:oleChartEl type="ptInCategory" lvl="5"/>
                                          </p:spTgt>
                                        </p:tgtEl>
                                      </p:cBhvr>
                                    </p:animEffect>
                                  </p:childTnLst>
                                </p:cTn>
                              </p:par>
                            </p:childTnLst>
                          </p:cTn>
                        </p:par>
                        <p:par>
                          <p:cTn id="30" fill="hold" nodeType="afterGroup">
                            <p:stCondLst>
                              <p:cond delay="500"/>
                            </p:stCondLst>
                            <p:childTnLst>
                              <p:par>
                                <p:cTn id="31" presetID="3" presetClass="entr" presetSubtype="10" fill="hold" grpId="0" nodeType="afterEffect">
                                  <p:stCondLst>
                                    <p:cond delay="0"/>
                                  </p:stCondLst>
                                  <p:childTnLst>
                                    <p:set>
                                      <p:cBhvr>
                                        <p:cTn id="32" dur="1" fill="hold">
                                          <p:stCondLst>
                                            <p:cond delay="0"/>
                                          </p:stCondLst>
                                        </p:cTn>
                                        <p:tgtEl>
                                          <p:spTgt spid="99332">
                                            <p:oleChartEl type="ptInCategory" lvl="6"/>
                                          </p:spTgt>
                                        </p:tgtEl>
                                        <p:attrNameLst>
                                          <p:attrName>style.visibility</p:attrName>
                                        </p:attrNameLst>
                                      </p:cBhvr>
                                      <p:to>
                                        <p:strVal val="visible"/>
                                      </p:to>
                                    </p:set>
                                    <p:animEffect transition="in" filter="blinds(horizontal)">
                                      <p:cBhvr>
                                        <p:cTn id="33" dur="500"/>
                                        <p:tgtEl>
                                          <p:spTgt spid="99332">
                                            <p:oleChartEl type="ptInCategory" lvl="6"/>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99332" grpId="0" uiExpand="1" bld="categoryEl"/>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3">
            <a:extLst>
              <a:ext uri="{FF2B5EF4-FFF2-40B4-BE49-F238E27FC236}">
                <a16:creationId xmlns:a16="http://schemas.microsoft.com/office/drawing/2014/main" id="{0EAEB2F9-0229-EB49-A59E-8E460644A958}"/>
              </a:ext>
            </a:extLst>
          </p:cNvPr>
          <p:cNvSpPr>
            <a:spLocks noGrp="1"/>
          </p:cNvSpPr>
          <p:nvPr>
            <p:ph type="ftr" sz="quarter" idx="10"/>
          </p:nvPr>
        </p:nvSpPr>
        <p:spPr/>
        <p:txBody>
          <a:bodyPr/>
          <a:lstStyle/>
          <a:p>
            <a:r>
              <a:rPr lang="de-DE" altLang="de-DE"/>
              <a:t>Studienanfängerhoch und Mobilität | Detlef Müller-Böling | 27.08.2007</a:t>
            </a:r>
          </a:p>
        </p:txBody>
      </p:sp>
      <p:sp>
        <p:nvSpPr>
          <p:cNvPr id="6" name="Foliennummernplatzhalter 4">
            <a:extLst>
              <a:ext uri="{FF2B5EF4-FFF2-40B4-BE49-F238E27FC236}">
                <a16:creationId xmlns:a16="http://schemas.microsoft.com/office/drawing/2014/main" id="{817B532B-8154-7446-A240-2DEB251A5564}"/>
              </a:ext>
            </a:extLst>
          </p:cNvPr>
          <p:cNvSpPr>
            <a:spLocks noGrp="1"/>
          </p:cNvSpPr>
          <p:nvPr>
            <p:ph type="sldNum" sz="quarter" idx="11"/>
          </p:nvPr>
        </p:nvSpPr>
        <p:spPr/>
        <p:txBody>
          <a:bodyPr/>
          <a:lstStyle/>
          <a:p>
            <a:fld id="{FC3E4C9E-EC0C-254C-B32F-D600CC8505B6}" type="slidenum">
              <a:rPr lang="de-DE" altLang="de-DE"/>
              <a:pPr/>
              <a:t>18</a:t>
            </a:fld>
            <a:endParaRPr lang="de-DE" altLang="de-DE"/>
          </a:p>
        </p:txBody>
      </p:sp>
      <p:sp>
        <p:nvSpPr>
          <p:cNvPr id="125954" name="Rectangle 2">
            <a:extLst>
              <a:ext uri="{FF2B5EF4-FFF2-40B4-BE49-F238E27FC236}">
                <a16:creationId xmlns:a16="http://schemas.microsoft.com/office/drawing/2014/main" id="{0E2C166D-23BD-DE41-95AF-B202005D2DA1}"/>
              </a:ext>
            </a:extLst>
          </p:cNvPr>
          <p:cNvSpPr>
            <a:spLocks noGrp="1" noChangeArrowheads="1"/>
          </p:cNvSpPr>
          <p:nvPr>
            <p:ph type="title"/>
          </p:nvPr>
        </p:nvSpPr>
        <p:spPr/>
        <p:txBody>
          <a:bodyPr/>
          <a:lstStyle/>
          <a:p>
            <a:r>
              <a:rPr lang="de-DE" altLang="de-DE"/>
              <a:t>Gliederung</a:t>
            </a:r>
          </a:p>
        </p:txBody>
      </p:sp>
      <p:sp>
        <p:nvSpPr>
          <p:cNvPr id="125955" name="Rectangle 3">
            <a:extLst>
              <a:ext uri="{FF2B5EF4-FFF2-40B4-BE49-F238E27FC236}">
                <a16:creationId xmlns:a16="http://schemas.microsoft.com/office/drawing/2014/main" id="{0579E851-AD32-6248-8DB2-976B53828A70}"/>
              </a:ext>
            </a:extLst>
          </p:cNvPr>
          <p:cNvSpPr>
            <a:spLocks noGrp="1" noChangeArrowheads="1"/>
          </p:cNvSpPr>
          <p:nvPr>
            <p:ph type="body" idx="1"/>
          </p:nvPr>
        </p:nvSpPr>
        <p:spPr>
          <a:xfrm>
            <a:off x="2268538" y="1639888"/>
            <a:ext cx="6418262" cy="4525962"/>
          </a:xfrm>
        </p:spPr>
        <p:txBody>
          <a:bodyPr/>
          <a:lstStyle/>
          <a:p>
            <a:r>
              <a:rPr lang="de-DE" altLang="de-DE"/>
              <a:t>Entwicklung Studienanfänger</a:t>
            </a:r>
            <a:br>
              <a:rPr lang="de-DE" altLang="de-DE"/>
            </a:br>
            <a:endParaRPr lang="de-DE" altLang="de-DE"/>
          </a:p>
          <a:p>
            <a:r>
              <a:rPr lang="de-DE" altLang="de-DE"/>
              <a:t>Mobilität</a:t>
            </a:r>
            <a:br>
              <a:rPr lang="de-DE" altLang="de-DE"/>
            </a:br>
            <a:endParaRPr lang="de-DE" altLang="de-DE"/>
          </a:p>
          <a:p>
            <a:r>
              <a:rPr lang="de-DE" altLang="de-DE"/>
              <a:t>Hochschulräume</a:t>
            </a:r>
          </a:p>
        </p:txBody>
      </p:sp>
      <p:sp>
        <p:nvSpPr>
          <p:cNvPr id="125956" name="Rectangle 4">
            <a:extLst>
              <a:ext uri="{FF2B5EF4-FFF2-40B4-BE49-F238E27FC236}">
                <a16:creationId xmlns:a16="http://schemas.microsoft.com/office/drawing/2014/main" id="{9CE3449D-DFF6-034E-BB8C-30E0E0727F64}"/>
              </a:ext>
            </a:extLst>
          </p:cNvPr>
          <p:cNvSpPr>
            <a:spLocks noChangeArrowheads="1"/>
          </p:cNvSpPr>
          <p:nvPr/>
        </p:nvSpPr>
        <p:spPr bwMode="auto">
          <a:xfrm>
            <a:off x="2339975" y="1557338"/>
            <a:ext cx="5256213" cy="1655762"/>
          </a:xfrm>
          <a:prstGeom prst="rect">
            <a:avLst/>
          </a:prstGeom>
          <a:solidFill>
            <a:schemeClr val="bg2">
              <a:alpha val="50000"/>
            </a:scheme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125956"/>
                                        </p:tgtEl>
                                        <p:attrNameLst>
                                          <p:attrName>style.visibility</p:attrName>
                                        </p:attrNameLst>
                                      </p:cBhvr>
                                      <p:to>
                                        <p:strVal val="visible"/>
                                      </p:to>
                                    </p:set>
                                    <p:animEffect transition="in" filter="dissolve">
                                      <p:cBhvr>
                                        <p:cTn id="7" dur="500"/>
                                        <p:tgtEl>
                                          <p:spTgt spid="1259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3B6B7A89-0142-D846-8F15-689BFCAC068B}"/>
              </a:ext>
            </a:extLst>
          </p:cNvPr>
          <p:cNvSpPr>
            <a:spLocks noGrp="1"/>
          </p:cNvSpPr>
          <p:nvPr>
            <p:ph type="ftr" sz="quarter" idx="10"/>
          </p:nvPr>
        </p:nvSpPr>
        <p:spPr/>
        <p:txBody>
          <a:bodyPr/>
          <a:lstStyle/>
          <a:p>
            <a:r>
              <a:rPr lang="de-DE" altLang="de-DE"/>
              <a:t>Studienanfängerhoch und Mobilität | Detlef Müller-Böling | 27.08.2007</a:t>
            </a:r>
          </a:p>
        </p:txBody>
      </p:sp>
      <p:sp>
        <p:nvSpPr>
          <p:cNvPr id="6" name="Foliennummernplatzhalter 5">
            <a:extLst>
              <a:ext uri="{FF2B5EF4-FFF2-40B4-BE49-F238E27FC236}">
                <a16:creationId xmlns:a16="http://schemas.microsoft.com/office/drawing/2014/main" id="{9D4C3EAF-85ED-B243-BCE6-3549F40C7BAC}"/>
              </a:ext>
            </a:extLst>
          </p:cNvPr>
          <p:cNvSpPr>
            <a:spLocks noGrp="1"/>
          </p:cNvSpPr>
          <p:nvPr>
            <p:ph type="sldNum" sz="quarter" idx="11"/>
          </p:nvPr>
        </p:nvSpPr>
        <p:spPr/>
        <p:txBody>
          <a:bodyPr/>
          <a:lstStyle/>
          <a:p>
            <a:fld id="{6075A493-2B31-7F47-BE0E-CEEC9D6617F4}" type="slidenum">
              <a:rPr lang="de-DE" altLang="de-DE"/>
              <a:pPr/>
              <a:t>19</a:t>
            </a:fld>
            <a:endParaRPr lang="de-DE" altLang="de-DE"/>
          </a:p>
        </p:txBody>
      </p:sp>
      <p:sp>
        <p:nvSpPr>
          <p:cNvPr id="119810" name="Rectangle 2">
            <a:extLst>
              <a:ext uri="{FF2B5EF4-FFF2-40B4-BE49-F238E27FC236}">
                <a16:creationId xmlns:a16="http://schemas.microsoft.com/office/drawing/2014/main" id="{1A3D696F-8755-704A-A41B-A989AF0DC67B}"/>
              </a:ext>
            </a:extLst>
          </p:cNvPr>
          <p:cNvSpPr>
            <a:spLocks noGrp="1" noChangeArrowheads="1"/>
          </p:cNvSpPr>
          <p:nvPr>
            <p:ph type="title"/>
          </p:nvPr>
        </p:nvSpPr>
        <p:spPr/>
        <p:txBody>
          <a:bodyPr/>
          <a:lstStyle/>
          <a:p>
            <a:r>
              <a:rPr lang="de-DE" altLang="de-DE"/>
              <a:t>Regionale Abweichungen - Bayern</a:t>
            </a:r>
          </a:p>
        </p:txBody>
      </p:sp>
      <p:graphicFrame>
        <p:nvGraphicFramePr>
          <p:cNvPr id="119811" name="Object 3">
            <a:extLst>
              <a:ext uri="{FF2B5EF4-FFF2-40B4-BE49-F238E27FC236}">
                <a16:creationId xmlns:a16="http://schemas.microsoft.com/office/drawing/2014/main" id="{21221C80-E7C4-5F44-905F-F8B8AD8BCA0B}"/>
              </a:ext>
            </a:extLst>
          </p:cNvPr>
          <p:cNvGraphicFramePr>
            <a:graphicFrameLocks noChangeAspect="1"/>
          </p:cNvGraphicFramePr>
          <p:nvPr>
            <p:ph sz="half" idx="2"/>
          </p:nvPr>
        </p:nvGraphicFramePr>
        <p:xfrm>
          <a:off x="1258888" y="1365250"/>
          <a:ext cx="6743700" cy="4524375"/>
        </p:xfrm>
        <a:graphic>
          <a:graphicData uri="http://schemas.openxmlformats.org/presentationml/2006/ole">
            <mc:AlternateContent xmlns:mc="http://schemas.openxmlformats.org/markup-compatibility/2006">
              <mc:Choice xmlns:v="urn:schemas-microsoft-com:vml" Requires="v">
                <p:oleObj spid="_x0000_s119813" name="Diagramm" r:id="rId4" imgW="3771900" imgH="2540000" progId="Excel.Chart.8">
                  <p:embed/>
                </p:oleObj>
              </mc:Choice>
              <mc:Fallback>
                <p:oleObj name="Diagramm" r:id="rId4" imgW="3771900" imgH="2540000" progId="Excel.Chart.8">
                  <p:embed/>
                  <p:pic>
                    <p:nvPicPr>
                      <p:cNvPr id="0"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888" y="1365250"/>
                        <a:ext cx="6743700" cy="452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19812" name="Line 4">
            <a:extLst>
              <a:ext uri="{FF2B5EF4-FFF2-40B4-BE49-F238E27FC236}">
                <a16:creationId xmlns:a16="http://schemas.microsoft.com/office/drawing/2014/main" id="{4A389FE5-E71B-FE47-B042-50950CEA4B80}"/>
              </a:ext>
            </a:extLst>
          </p:cNvPr>
          <p:cNvSpPr>
            <a:spLocks noChangeShapeType="1"/>
          </p:cNvSpPr>
          <p:nvPr/>
        </p:nvSpPr>
        <p:spPr bwMode="auto">
          <a:xfrm>
            <a:off x="6516688" y="2349500"/>
            <a:ext cx="0" cy="720725"/>
          </a:xfrm>
          <a:prstGeom prst="line">
            <a:avLst/>
          </a:prstGeom>
          <a:noFill/>
          <a:ln w="19050">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9811">
                                            <p:oleChartEl type="gridLegend"/>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9811">
                                            <p:oleChartEl type="series" lvl="1"/>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9811">
                                            <p:oleChartEl type="series" lvl="2"/>
                                          </p:spTgt>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9811">
                                            <p:oleChartEl type="series" lvl="3"/>
                                          </p:spTgt>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3" presetClass="entr" presetSubtype="10" fill="hold" nodeType="clickEffect">
                                  <p:stCondLst>
                                    <p:cond delay="0"/>
                                  </p:stCondLst>
                                  <p:childTnLst>
                                    <p:set>
                                      <p:cBhvr>
                                        <p:cTn id="20" dur="1" fill="hold">
                                          <p:stCondLst>
                                            <p:cond delay="0"/>
                                          </p:stCondLst>
                                        </p:cTn>
                                        <p:tgtEl>
                                          <p:spTgt spid="119812"/>
                                        </p:tgtEl>
                                        <p:attrNameLst>
                                          <p:attrName>style.visibility</p:attrName>
                                        </p:attrNameLst>
                                      </p:cBhvr>
                                      <p:to>
                                        <p:strVal val="visible"/>
                                      </p:to>
                                    </p:set>
                                    <p:animEffect transition="in" filter="blinds(horizontal)">
                                      <p:cBhvr>
                                        <p:cTn id="21" dur="500"/>
                                        <p:tgtEl>
                                          <p:spTgt spid="1198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119811" grpId="0" bld="series"/>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3">
            <a:extLst>
              <a:ext uri="{FF2B5EF4-FFF2-40B4-BE49-F238E27FC236}">
                <a16:creationId xmlns:a16="http://schemas.microsoft.com/office/drawing/2014/main" id="{3EBC58C7-06B1-FD40-975A-E1A794F0790A}"/>
              </a:ext>
            </a:extLst>
          </p:cNvPr>
          <p:cNvSpPr>
            <a:spLocks noGrp="1"/>
          </p:cNvSpPr>
          <p:nvPr>
            <p:ph type="ftr" sz="quarter" idx="10"/>
          </p:nvPr>
        </p:nvSpPr>
        <p:spPr/>
        <p:txBody>
          <a:bodyPr/>
          <a:lstStyle/>
          <a:p>
            <a:r>
              <a:rPr lang="de-DE" altLang="de-DE"/>
              <a:t>Studienanfängerhoch und Mobilität | Detlef Müller-Böling | 27.08.2007</a:t>
            </a:r>
          </a:p>
        </p:txBody>
      </p:sp>
      <p:sp>
        <p:nvSpPr>
          <p:cNvPr id="6" name="Foliennummernplatzhalter 4">
            <a:extLst>
              <a:ext uri="{FF2B5EF4-FFF2-40B4-BE49-F238E27FC236}">
                <a16:creationId xmlns:a16="http://schemas.microsoft.com/office/drawing/2014/main" id="{3DBC6848-1C49-D649-8FB6-50BA8F0A237B}"/>
              </a:ext>
            </a:extLst>
          </p:cNvPr>
          <p:cNvSpPr>
            <a:spLocks noGrp="1"/>
          </p:cNvSpPr>
          <p:nvPr>
            <p:ph type="sldNum" sz="quarter" idx="11"/>
          </p:nvPr>
        </p:nvSpPr>
        <p:spPr/>
        <p:txBody>
          <a:bodyPr/>
          <a:lstStyle/>
          <a:p>
            <a:fld id="{C624844C-90B0-4C49-A5EC-05112AEB7EC7}" type="slidenum">
              <a:rPr lang="de-DE" altLang="de-DE"/>
              <a:pPr/>
              <a:t>2</a:t>
            </a:fld>
            <a:endParaRPr lang="de-DE" altLang="de-DE"/>
          </a:p>
        </p:txBody>
      </p:sp>
      <p:sp>
        <p:nvSpPr>
          <p:cNvPr id="123906" name="Rectangle 2">
            <a:extLst>
              <a:ext uri="{FF2B5EF4-FFF2-40B4-BE49-F238E27FC236}">
                <a16:creationId xmlns:a16="http://schemas.microsoft.com/office/drawing/2014/main" id="{5E314ECA-D486-D040-93B9-8FC8AC43409B}"/>
              </a:ext>
            </a:extLst>
          </p:cNvPr>
          <p:cNvSpPr>
            <a:spLocks noGrp="1" noChangeArrowheads="1"/>
          </p:cNvSpPr>
          <p:nvPr>
            <p:ph type="title"/>
          </p:nvPr>
        </p:nvSpPr>
        <p:spPr/>
        <p:txBody>
          <a:bodyPr/>
          <a:lstStyle/>
          <a:p>
            <a:r>
              <a:rPr lang="de-DE" altLang="de-DE"/>
              <a:t>Gliederung</a:t>
            </a:r>
          </a:p>
        </p:txBody>
      </p:sp>
      <p:sp>
        <p:nvSpPr>
          <p:cNvPr id="123907" name="Rectangle 3">
            <a:extLst>
              <a:ext uri="{FF2B5EF4-FFF2-40B4-BE49-F238E27FC236}">
                <a16:creationId xmlns:a16="http://schemas.microsoft.com/office/drawing/2014/main" id="{7B2BDE2C-79B1-FC47-9894-F053B3C7444B}"/>
              </a:ext>
            </a:extLst>
          </p:cNvPr>
          <p:cNvSpPr>
            <a:spLocks noGrp="1" noChangeArrowheads="1"/>
          </p:cNvSpPr>
          <p:nvPr>
            <p:ph type="body" idx="1"/>
          </p:nvPr>
        </p:nvSpPr>
        <p:spPr>
          <a:xfrm>
            <a:off x="2268538" y="1639888"/>
            <a:ext cx="6418262" cy="4525962"/>
          </a:xfrm>
        </p:spPr>
        <p:txBody>
          <a:bodyPr/>
          <a:lstStyle/>
          <a:p>
            <a:r>
              <a:rPr lang="de-DE" altLang="de-DE"/>
              <a:t>Entwicklung Studienanfänger</a:t>
            </a:r>
            <a:br>
              <a:rPr lang="de-DE" altLang="de-DE"/>
            </a:br>
            <a:endParaRPr lang="de-DE" altLang="de-DE"/>
          </a:p>
          <a:p>
            <a:r>
              <a:rPr lang="de-DE" altLang="de-DE"/>
              <a:t>Mobilität</a:t>
            </a:r>
            <a:br>
              <a:rPr lang="de-DE" altLang="de-DE"/>
            </a:br>
            <a:endParaRPr lang="de-DE" altLang="de-DE"/>
          </a:p>
          <a:p>
            <a:r>
              <a:rPr lang="de-DE" altLang="de-DE"/>
              <a:t>Hochschulräume</a:t>
            </a:r>
          </a:p>
        </p:txBody>
      </p:sp>
      <p:sp>
        <p:nvSpPr>
          <p:cNvPr id="123908" name="Rectangle 4">
            <a:extLst>
              <a:ext uri="{FF2B5EF4-FFF2-40B4-BE49-F238E27FC236}">
                <a16:creationId xmlns:a16="http://schemas.microsoft.com/office/drawing/2014/main" id="{ABBEF9CE-5A94-504C-B46B-BDEE8CFA061C}"/>
              </a:ext>
            </a:extLst>
          </p:cNvPr>
          <p:cNvSpPr>
            <a:spLocks noChangeArrowheads="1"/>
          </p:cNvSpPr>
          <p:nvPr/>
        </p:nvSpPr>
        <p:spPr bwMode="auto">
          <a:xfrm>
            <a:off x="2339975" y="2565400"/>
            <a:ext cx="5256213" cy="1655763"/>
          </a:xfrm>
          <a:prstGeom prst="rect">
            <a:avLst/>
          </a:prstGeom>
          <a:solidFill>
            <a:schemeClr val="bg2">
              <a:alpha val="50000"/>
            </a:scheme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123908"/>
                                        </p:tgtEl>
                                        <p:attrNameLst>
                                          <p:attrName>style.visibility</p:attrName>
                                        </p:attrNameLst>
                                      </p:cBhvr>
                                      <p:to>
                                        <p:strVal val="visible"/>
                                      </p:to>
                                    </p:set>
                                    <p:animEffect transition="in" filter="dissolve">
                                      <p:cBhvr>
                                        <p:cTn id="7" dur="500"/>
                                        <p:tgtEl>
                                          <p:spTgt spid="1239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3">
            <a:extLst>
              <a:ext uri="{FF2B5EF4-FFF2-40B4-BE49-F238E27FC236}">
                <a16:creationId xmlns:a16="http://schemas.microsoft.com/office/drawing/2014/main" id="{D132D375-9DC8-374A-998C-D1C0866BBA3C}"/>
              </a:ext>
            </a:extLst>
          </p:cNvPr>
          <p:cNvSpPr>
            <a:spLocks noGrp="1"/>
          </p:cNvSpPr>
          <p:nvPr>
            <p:ph type="ftr" sz="quarter" idx="10"/>
          </p:nvPr>
        </p:nvSpPr>
        <p:spPr/>
        <p:txBody>
          <a:bodyPr/>
          <a:lstStyle/>
          <a:p>
            <a:r>
              <a:rPr lang="de-DE" altLang="de-DE"/>
              <a:t>Studienanfängerhoch und Mobilität | Detlef Müller-Böling | 27.08.2007</a:t>
            </a:r>
          </a:p>
        </p:txBody>
      </p:sp>
      <p:sp>
        <p:nvSpPr>
          <p:cNvPr id="6" name="Foliennummernplatzhalter 4">
            <a:extLst>
              <a:ext uri="{FF2B5EF4-FFF2-40B4-BE49-F238E27FC236}">
                <a16:creationId xmlns:a16="http://schemas.microsoft.com/office/drawing/2014/main" id="{D5D9A908-EE33-4E47-BF1D-FE886B08236F}"/>
              </a:ext>
            </a:extLst>
          </p:cNvPr>
          <p:cNvSpPr>
            <a:spLocks noGrp="1"/>
          </p:cNvSpPr>
          <p:nvPr>
            <p:ph type="sldNum" sz="quarter" idx="11"/>
          </p:nvPr>
        </p:nvSpPr>
        <p:spPr/>
        <p:txBody>
          <a:bodyPr/>
          <a:lstStyle/>
          <a:p>
            <a:fld id="{08DC7D22-5919-1C4A-9797-C61A7D84669D}" type="slidenum">
              <a:rPr lang="de-DE" altLang="de-DE"/>
              <a:pPr/>
              <a:t>20</a:t>
            </a:fld>
            <a:endParaRPr lang="de-DE" altLang="de-DE"/>
          </a:p>
        </p:txBody>
      </p:sp>
      <p:sp>
        <p:nvSpPr>
          <p:cNvPr id="121858" name="Rectangle 2">
            <a:extLst>
              <a:ext uri="{FF2B5EF4-FFF2-40B4-BE49-F238E27FC236}">
                <a16:creationId xmlns:a16="http://schemas.microsoft.com/office/drawing/2014/main" id="{C5D20BB5-11CA-E545-AD0A-699B67CEA77C}"/>
              </a:ext>
            </a:extLst>
          </p:cNvPr>
          <p:cNvSpPr>
            <a:spLocks noGrp="1" noChangeArrowheads="1"/>
          </p:cNvSpPr>
          <p:nvPr>
            <p:ph type="title"/>
          </p:nvPr>
        </p:nvSpPr>
        <p:spPr/>
        <p:txBody>
          <a:bodyPr/>
          <a:lstStyle/>
          <a:p>
            <a:r>
              <a:rPr lang="de-DE" altLang="de-DE"/>
              <a:t>Regionale Abweichungen - Brandenburg</a:t>
            </a:r>
          </a:p>
        </p:txBody>
      </p:sp>
      <p:graphicFrame>
        <p:nvGraphicFramePr>
          <p:cNvPr id="121859" name="Object 3">
            <a:extLst>
              <a:ext uri="{FF2B5EF4-FFF2-40B4-BE49-F238E27FC236}">
                <a16:creationId xmlns:a16="http://schemas.microsoft.com/office/drawing/2014/main" id="{FFE6EE1A-9EEF-6944-A624-36819D91BA89}"/>
              </a:ext>
            </a:extLst>
          </p:cNvPr>
          <p:cNvGraphicFramePr>
            <a:graphicFrameLocks/>
          </p:cNvGraphicFramePr>
          <p:nvPr>
            <p:ph idx="1"/>
          </p:nvPr>
        </p:nvGraphicFramePr>
        <p:xfrm>
          <a:off x="1258888" y="1419225"/>
          <a:ext cx="6743700" cy="4416425"/>
        </p:xfrm>
        <a:graphic>
          <a:graphicData uri="http://schemas.openxmlformats.org/presentationml/2006/ole">
            <mc:AlternateContent xmlns:mc="http://schemas.openxmlformats.org/markup-compatibility/2006">
              <mc:Choice xmlns:v="urn:schemas-microsoft-com:vml" Requires="v">
                <p:oleObj spid="_x0000_s121861" name="Diagramm" r:id="rId4" imgW="3759200" imgH="2463800" progId="Excel.Chart.8">
                  <p:embed/>
                </p:oleObj>
              </mc:Choice>
              <mc:Fallback>
                <p:oleObj name="Diagramm" r:id="rId4" imgW="3759200" imgH="2463800" progId="Excel.Chart.8">
                  <p:embed/>
                  <p:pic>
                    <p:nvPicPr>
                      <p:cNvPr id="0" name="Object 3"/>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888" y="1419225"/>
                        <a:ext cx="6743700" cy="4416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21860" name="Line 4">
            <a:extLst>
              <a:ext uri="{FF2B5EF4-FFF2-40B4-BE49-F238E27FC236}">
                <a16:creationId xmlns:a16="http://schemas.microsoft.com/office/drawing/2014/main" id="{836FEB6D-5A04-334F-A6C4-28E2293CFA86}"/>
              </a:ext>
            </a:extLst>
          </p:cNvPr>
          <p:cNvSpPr>
            <a:spLocks noChangeShapeType="1"/>
          </p:cNvSpPr>
          <p:nvPr/>
        </p:nvSpPr>
        <p:spPr bwMode="auto">
          <a:xfrm>
            <a:off x="6877050" y="3213100"/>
            <a:ext cx="0" cy="576263"/>
          </a:xfrm>
          <a:prstGeom prst="line">
            <a:avLst/>
          </a:prstGeom>
          <a:noFill/>
          <a:ln w="19050">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1859">
                                            <p:oleChartEl type="gridLegend"/>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1859">
                                            <p:oleChartEl type="series" lvl="1"/>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1859">
                                            <p:oleChartEl type="series" lvl="2"/>
                                          </p:spTgt>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21859">
                                            <p:oleChartEl type="series" lvl="3"/>
                                          </p:spTgt>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3" presetClass="entr" presetSubtype="10" fill="hold" nodeType="clickEffect">
                                  <p:stCondLst>
                                    <p:cond delay="0"/>
                                  </p:stCondLst>
                                  <p:childTnLst>
                                    <p:set>
                                      <p:cBhvr>
                                        <p:cTn id="20" dur="1" fill="hold">
                                          <p:stCondLst>
                                            <p:cond delay="0"/>
                                          </p:stCondLst>
                                        </p:cTn>
                                        <p:tgtEl>
                                          <p:spTgt spid="121860"/>
                                        </p:tgtEl>
                                        <p:attrNameLst>
                                          <p:attrName>style.visibility</p:attrName>
                                        </p:attrNameLst>
                                      </p:cBhvr>
                                      <p:to>
                                        <p:strVal val="visible"/>
                                      </p:to>
                                    </p:set>
                                    <p:animEffect transition="in" filter="blinds(horizontal)">
                                      <p:cBhvr>
                                        <p:cTn id="21" dur="500"/>
                                        <p:tgtEl>
                                          <p:spTgt spid="1218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121859" grpId="0" bld="series"/>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ußzeilenplatzhalter 3">
            <a:extLst>
              <a:ext uri="{FF2B5EF4-FFF2-40B4-BE49-F238E27FC236}">
                <a16:creationId xmlns:a16="http://schemas.microsoft.com/office/drawing/2014/main" id="{0DDBD37C-A7FB-2847-AF56-B763EC053788}"/>
              </a:ext>
            </a:extLst>
          </p:cNvPr>
          <p:cNvSpPr>
            <a:spLocks noGrp="1"/>
          </p:cNvSpPr>
          <p:nvPr>
            <p:ph type="ftr" sz="quarter" idx="10"/>
          </p:nvPr>
        </p:nvSpPr>
        <p:spPr/>
        <p:txBody>
          <a:bodyPr/>
          <a:lstStyle/>
          <a:p>
            <a:r>
              <a:rPr lang="de-DE" altLang="de-DE"/>
              <a:t>Studienanfängerhoch und Mobilität | Detlef Müller-Böling | 27.08.2007</a:t>
            </a:r>
          </a:p>
        </p:txBody>
      </p:sp>
      <p:sp>
        <p:nvSpPr>
          <p:cNvPr id="7" name="Foliennummernplatzhalter 4">
            <a:extLst>
              <a:ext uri="{FF2B5EF4-FFF2-40B4-BE49-F238E27FC236}">
                <a16:creationId xmlns:a16="http://schemas.microsoft.com/office/drawing/2014/main" id="{3448ECEC-9156-1442-9B68-54CC36C5E441}"/>
              </a:ext>
            </a:extLst>
          </p:cNvPr>
          <p:cNvSpPr>
            <a:spLocks noGrp="1"/>
          </p:cNvSpPr>
          <p:nvPr>
            <p:ph type="sldNum" sz="quarter" idx="11"/>
          </p:nvPr>
        </p:nvSpPr>
        <p:spPr/>
        <p:txBody>
          <a:bodyPr/>
          <a:lstStyle/>
          <a:p>
            <a:fld id="{9B18E991-44C3-654E-A843-76092157836B}" type="slidenum">
              <a:rPr lang="de-DE" altLang="de-DE"/>
              <a:pPr/>
              <a:t>21</a:t>
            </a:fld>
            <a:endParaRPr lang="de-DE" altLang="de-DE"/>
          </a:p>
        </p:txBody>
      </p:sp>
      <p:sp>
        <p:nvSpPr>
          <p:cNvPr id="107522" name="Rectangle 2">
            <a:extLst>
              <a:ext uri="{FF2B5EF4-FFF2-40B4-BE49-F238E27FC236}">
                <a16:creationId xmlns:a16="http://schemas.microsoft.com/office/drawing/2014/main" id="{01A7F521-E3CB-7543-949B-5D0839BDE8EE}"/>
              </a:ext>
            </a:extLst>
          </p:cNvPr>
          <p:cNvSpPr>
            <a:spLocks noGrp="1" noChangeArrowheads="1"/>
          </p:cNvSpPr>
          <p:nvPr>
            <p:ph type="title"/>
          </p:nvPr>
        </p:nvSpPr>
        <p:spPr>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lIns="91416" tIns="45708" rIns="91416" bIns="45708"/>
          <a:lstStyle/>
          <a:p>
            <a:r>
              <a:rPr lang="de-DE" altLang="de-DE" sz="2500"/>
              <a:t>Analyse der Einzugsstrukturen - Land</a:t>
            </a:r>
          </a:p>
        </p:txBody>
      </p:sp>
      <p:pic>
        <p:nvPicPr>
          <p:cNvPr id="107523" name="Picture 3">
            <a:extLst>
              <a:ext uri="{FF2B5EF4-FFF2-40B4-BE49-F238E27FC236}">
                <a16:creationId xmlns:a16="http://schemas.microsoft.com/office/drawing/2014/main" id="{6F04F853-40B8-644A-A009-3EC5194A9638}"/>
              </a:ext>
            </a:extLst>
          </p:cNvPr>
          <p:cNvPicPr>
            <a:picLocks noChangeAspect="1" noChangeArrowheads="1"/>
          </p:cNvPicPr>
          <p:nvPr>
            <p:ph type="body" idx="1"/>
          </p:nvPr>
        </p:nvPicPr>
        <p:blipFill>
          <a:blip r:embed="rId3">
            <a:extLst>
              <a:ext uri="{28A0092B-C50C-407E-A947-70E740481C1C}">
                <a14:useLocalDpi xmlns:a14="http://schemas.microsoft.com/office/drawing/2010/main" val="0"/>
              </a:ext>
            </a:extLst>
          </a:blip>
          <a:srcRect/>
          <a:stretch>
            <a:fillRect/>
          </a:stretch>
        </p:blipFill>
        <p:spPr>
          <a:xfrm>
            <a:off x="984250" y="1077913"/>
            <a:ext cx="4113213" cy="5153025"/>
          </a:xfrm>
          <a:noFill/>
          <a:ln/>
        </p:spPr>
      </p:pic>
      <p:sp>
        <p:nvSpPr>
          <p:cNvPr id="107524" name="Text Box 4">
            <a:extLst>
              <a:ext uri="{FF2B5EF4-FFF2-40B4-BE49-F238E27FC236}">
                <a16:creationId xmlns:a16="http://schemas.microsoft.com/office/drawing/2014/main" id="{568850FB-FEDA-884F-A126-FDBE2C4E403C}"/>
              </a:ext>
            </a:extLst>
          </p:cNvPr>
          <p:cNvSpPr txBox="1">
            <a:spLocks noChangeArrowheads="1"/>
          </p:cNvSpPr>
          <p:nvPr/>
        </p:nvSpPr>
        <p:spPr bwMode="auto">
          <a:xfrm>
            <a:off x="5064125" y="4081463"/>
            <a:ext cx="3868738" cy="2063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57" tIns="43228" rIns="86457" bIns="43228">
            <a:spAutoFit/>
          </a:bodyPr>
          <a:lstStyle>
            <a:lvl1pPr defTabSz="865188">
              <a:defRPr>
                <a:solidFill>
                  <a:schemeClr val="tx1"/>
                </a:solidFill>
                <a:latin typeface="Arial" panose="020B0604020202020204" pitchFamily="34" charset="0"/>
              </a:defRPr>
            </a:lvl1pPr>
            <a:lvl2pPr marL="431800" defTabSz="865188">
              <a:defRPr>
                <a:solidFill>
                  <a:schemeClr val="tx1"/>
                </a:solidFill>
                <a:latin typeface="Arial" panose="020B0604020202020204" pitchFamily="34" charset="0"/>
              </a:defRPr>
            </a:lvl2pPr>
            <a:lvl3pPr marL="865188" defTabSz="865188">
              <a:defRPr>
                <a:solidFill>
                  <a:schemeClr val="tx1"/>
                </a:solidFill>
                <a:latin typeface="Arial" panose="020B0604020202020204" pitchFamily="34" charset="0"/>
              </a:defRPr>
            </a:lvl3pPr>
            <a:lvl4pPr marL="1296988" defTabSz="865188">
              <a:defRPr>
                <a:solidFill>
                  <a:schemeClr val="tx1"/>
                </a:solidFill>
                <a:latin typeface="Arial" panose="020B0604020202020204" pitchFamily="34" charset="0"/>
              </a:defRPr>
            </a:lvl4pPr>
            <a:lvl5pPr marL="1728788" defTabSz="865188">
              <a:defRPr>
                <a:solidFill>
                  <a:schemeClr val="tx1"/>
                </a:solidFill>
                <a:latin typeface="Arial" panose="020B0604020202020204" pitchFamily="34" charset="0"/>
              </a:defRPr>
            </a:lvl5pPr>
            <a:lvl6pPr marL="2185988" defTabSz="865188" fontAlgn="base">
              <a:spcBef>
                <a:spcPct val="0"/>
              </a:spcBef>
              <a:spcAft>
                <a:spcPct val="0"/>
              </a:spcAft>
              <a:defRPr>
                <a:solidFill>
                  <a:schemeClr val="tx1"/>
                </a:solidFill>
                <a:latin typeface="Arial" panose="020B0604020202020204" pitchFamily="34" charset="0"/>
              </a:defRPr>
            </a:lvl6pPr>
            <a:lvl7pPr marL="2643188" defTabSz="865188" fontAlgn="base">
              <a:spcBef>
                <a:spcPct val="0"/>
              </a:spcBef>
              <a:spcAft>
                <a:spcPct val="0"/>
              </a:spcAft>
              <a:defRPr>
                <a:solidFill>
                  <a:schemeClr val="tx1"/>
                </a:solidFill>
                <a:latin typeface="Arial" panose="020B0604020202020204" pitchFamily="34" charset="0"/>
              </a:defRPr>
            </a:lvl7pPr>
            <a:lvl8pPr marL="3100388" defTabSz="865188" fontAlgn="base">
              <a:spcBef>
                <a:spcPct val="0"/>
              </a:spcBef>
              <a:spcAft>
                <a:spcPct val="0"/>
              </a:spcAft>
              <a:defRPr>
                <a:solidFill>
                  <a:schemeClr val="tx1"/>
                </a:solidFill>
                <a:latin typeface="Arial" panose="020B0604020202020204" pitchFamily="34" charset="0"/>
              </a:defRPr>
            </a:lvl8pPr>
            <a:lvl9pPr marL="3557588" defTabSz="865188" fontAlgn="base">
              <a:spcBef>
                <a:spcPct val="0"/>
              </a:spcBef>
              <a:spcAft>
                <a:spcPct val="0"/>
              </a:spcAft>
              <a:defRPr>
                <a:solidFill>
                  <a:schemeClr val="tx1"/>
                </a:solidFill>
                <a:latin typeface="Arial" panose="020B0604020202020204" pitchFamily="34" charset="0"/>
              </a:defRPr>
            </a:lvl9pPr>
          </a:lstStyle>
          <a:p>
            <a:pPr>
              <a:spcBef>
                <a:spcPct val="50000"/>
              </a:spcBef>
            </a:pPr>
            <a:r>
              <a:rPr lang="de-DE" altLang="de-DE" sz="1900"/>
              <a:t>Bundesweite Einzugsstruktur des Hochschulsystems Brandenburg nach Kreisen im SoSe 2005 und WiSe 2005/06</a:t>
            </a:r>
          </a:p>
          <a:p>
            <a:pPr>
              <a:spcBef>
                <a:spcPct val="50000"/>
              </a:spcBef>
            </a:pPr>
            <a:endParaRPr lang="de-DE" altLang="de-DE" sz="1900"/>
          </a:p>
          <a:p>
            <a:pPr>
              <a:spcBef>
                <a:spcPct val="50000"/>
              </a:spcBef>
            </a:pPr>
            <a:endParaRPr lang="de-DE" altLang="de-DE" sz="1700"/>
          </a:p>
        </p:txBody>
      </p:sp>
      <p:pic>
        <p:nvPicPr>
          <p:cNvPr id="107525" name="Picture 5">
            <a:extLst>
              <a:ext uri="{FF2B5EF4-FFF2-40B4-BE49-F238E27FC236}">
                <a16:creationId xmlns:a16="http://schemas.microsoft.com/office/drawing/2014/main" id="{C7F8914D-041B-AB46-83E4-FE354B4D34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33975" y="1208088"/>
            <a:ext cx="3305175" cy="1741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ußzeilenplatzhalter 3">
            <a:extLst>
              <a:ext uri="{FF2B5EF4-FFF2-40B4-BE49-F238E27FC236}">
                <a16:creationId xmlns:a16="http://schemas.microsoft.com/office/drawing/2014/main" id="{CCF2E991-DDE1-C243-A61C-1115D80A9753}"/>
              </a:ext>
            </a:extLst>
          </p:cNvPr>
          <p:cNvSpPr>
            <a:spLocks noGrp="1"/>
          </p:cNvSpPr>
          <p:nvPr>
            <p:ph type="ftr" sz="quarter" idx="10"/>
          </p:nvPr>
        </p:nvSpPr>
        <p:spPr/>
        <p:txBody>
          <a:bodyPr/>
          <a:lstStyle/>
          <a:p>
            <a:r>
              <a:rPr lang="de-DE" altLang="de-DE"/>
              <a:t>Studienanfängerhoch und Mobilität | Detlef Müller-Böling | 27.08.2007</a:t>
            </a:r>
          </a:p>
        </p:txBody>
      </p:sp>
      <p:sp>
        <p:nvSpPr>
          <p:cNvPr id="7" name="Foliennummernplatzhalter 4">
            <a:extLst>
              <a:ext uri="{FF2B5EF4-FFF2-40B4-BE49-F238E27FC236}">
                <a16:creationId xmlns:a16="http://schemas.microsoft.com/office/drawing/2014/main" id="{605DC17C-B412-BB47-A3C5-FA103E838588}"/>
              </a:ext>
            </a:extLst>
          </p:cNvPr>
          <p:cNvSpPr>
            <a:spLocks noGrp="1"/>
          </p:cNvSpPr>
          <p:nvPr>
            <p:ph type="sldNum" sz="quarter" idx="11"/>
          </p:nvPr>
        </p:nvSpPr>
        <p:spPr/>
        <p:txBody>
          <a:bodyPr/>
          <a:lstStyle/>
          <a:p>
            <a:fld id="{A19CB003-60DA-2E44-AD0A-1449D822EE35}" type="slidenum">
              <a:rPr lang="de-DE" altLang="de-DE"/>
              <a:pPr/>
              <a:t>22</a:t>
            </a:fld>
            <a:endParaRPr lang="de-DE" altLang="de-DE"/>
          </a:p>
        </p:txBody>
      </p:sp>
      <p:pic>
        <p:nvPicPr>
          <p:cNvPr id="109570" name="Picture 2">
            <a:extLst>
              <a:ext uri="{FF2B5EF4-FFF2-40B4-BE49-F238E27FC236}">
                <a16:creationId xmlns:a16="http://schemas.microsoft.com/office/drawing/2014/main" id="{69E7EE6B-DD35-1F40-BCBC-6FA2DE3FF1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070" t="19006" r="6085" b="19006"/>
          <a:stretch>
            <a:fillRect/>
          </a:stretch>
        </p:blipFill>
        <p:spPr bwMode="auto">
          <a:xfrm>
            <a:off x="3025775" y="815975"/>
            <a:ext cx="5770563" cy="5291138"/>
          </a:xfrm>
          <a:prstGeom prst="rect">
            <a:avLst/>
          </a:prstGeom>
          <a:noFill/>
          <a:extLst>
            <a:ext uri="{909E8E84-426E-40DD-AFC4-6F175D3DCCD1}">
              <a14:hiddenFill xmlns:a14="http://schemas.microsoft.com/office/drawing/2010/main">
                <a:solidFill>
                  <a:srgbClr val="FFFFFF"/>
                </a:solidFill>
              </a14:hiddenFill>
            </a:ext>
          </a:extLst>
        </p:spPr>
      </p:pic>
      <p:sp>
        <p:nvSpPr>
          <p:cNvPr id="109571" name="Rectangle 3">
            <a:extLst>
              <a:ext uri="{FF2B5EF4-FFF2-40B4-BE49-F238E27FC236}">
                <a16:creationId xmlns:a16="http://schemas.microsoft.com/office/drawing/2014/main" id="{8E6CBF31-EDB7-394A-B1ED-D89CBF2B8D4D}"/>
              </a:ext>
            </a:extLst>
          </p:cNvPr>
          <p:cNvSpPr>
            <a:spLocks noGrp="1" noChangeArrowheads="1"/>
          </p:cNvSpPr>
          <p:nvPr>
            <p:ph type="title"/>
          </p:nvPr>
        </p:nvSpPr>
        <p:spPr>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lIns="91416" tIns="45708" rIns="91416" bIns="45708"/>
          <a:lstStyle/>
          <a:p>
            <a:r>
              <a:rPr lang="de-DE" altLang="de-DE" sz="2400"/>
              <a:t>Analyse der Einzugsstrukturen - Hochschule</a:t>
            </a:r>
          </a:p>
        </p:txBody>
      </p:sp>
      <p:sp>
        <p:nvSpPr>
          <p:cNvPr id="109572" name="Rectangle 4">
            <a:extLst>
              <a:ext uri="{FF2B5EF4-FFF2-40B4-BE49-F238E27FC236}">
                <a16:creationId xmlns:a16="http://schemas.microsoft.com/office/drawing/2014/main" id="{CE7EFF22-BC9D-4647-A71F-8CC76833B26F}"/>
              </a:ext>
            </a:extLst>
          </p:cNvPr>
          <p:cNvSpPr>
            <a:spLocks noChangeArrowheads="1"/>
          </p:cNvSpPr>
          <p:nvPr/>
        </p:nvSpPr>
        <p:spPr bwMode="auto">
          <a:xfrm>
            <a:off x="282575" y="2776538"/>
            <a:ext cx="3094038" cy="1674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57" tIns="43228" rIns="86457" bIns="43228">
            <a:spAutoFit/>
          </a:bodyPr>
          <a:lstStyle>
            <a:lvl1pPr defTabSz="865188">
              <a:defRPr>
                <a:solidFill>
                  <a:schemeClr val="tx1"/>
                </a:solidFill>
                <a:latin typeface="Arial" panose="020B0604020202020204" pitchFamily="34" charset="0"/>
              </a:defRPr>
            </a:lvl1pPr>
            <a:lvl2pPr marL="431800" defTabSz="865188">
              <a:defRPr>
                <a:solidFill>
                  <a:schemeClr val="tx1"/>
                </a:solidFill>
                <a:latin typeface="Arial" panose="020B0604020202020204" pitchFamily="34" charset="0"/>
              </a:defRPr>
            </a:lvl2pPr>
            <a:lvl3pPr marL="865188" defTabSz="865188">
              <a:defRPr>
                <a:solidFill>
                  <a:schemeClr val="tx1"/>
                </a:solidFill>
                <a:latin typeface="Arial" panose="020B0604020202020204" pitchFamily="34" charset="0"/>
              </a:defRPr>
            </a:lvl3pPr>
            <a:lvl4pPr marL="1296988" defTabSz="865188">
              <a:defRPr>
                <a:solidFill>
                  <a:schemeClr val="tx1"/>
                </a:solidFill>
                <a:latin typeface="Arial" panose="020B0604020202020204" pitchFamily="34" charset="0"/>
              </a:defRPr>
            </a:lvl4pPr>
            <a:lvl5pPr marL="1728788" defTabSz="865188">
              <a:defRPr>
                <a:solidFill>
                  <a:schemeClr val="tx1"/>
                </a:solidFill>
                <a:latin typeface="Arial" panose="020B0604020202020204" pitchFamily="34" charset="0"/>
              </a:defRPr>
            </a:lvl5pPr>
            <a:lvl6pPr marL="2185988" defTabSz="865188" fontAlgn="base">
              <a:spcBef>
                <a:spcPct val="0"/>
              </a:spcBef>
              <a:spcAft>
                <a:spcPct val="0"/>
              </a:spcAft>
              <a:defRPr>
                <a:solidFill>
                  <a:schemeClr val="tx1"/>
                </a:solidFill>
                <a:latin typeface="Arial" panose="020B0604020202020204" pitchFamily="34" charset="0"/>
              </a:defRPr>
            </a:lvl6pPr>
            <a:lvl7pPr marL="2643188" defTabSz="865188" fontAlgn="base">
              <a:spcBef>
                <a:spcPct val="0"/>
              </a:spcBef>
              <a:spcAft>
                <a:spcPct val="0"/>
              </a:spcAft>
              <a:defRPr>
                <a:solidFill>
                  <a:schemeClr val="tx1"/>
                </a:solidFill>
                <a:latin typeface="Arial" panose="020B0604020202020204" pitchFamily="34" charset="0"/>
              </a:defRPr>
            </a:lvl7pPr>
            <a:lvl8pPr marL="3100388" defTabSz="865188" fontAlgn="base">
              <a:spcBef>
                <a:spcPct val="0"/>
              </a:spcBef>
              <a:spcAft>
                <a:spcPct val="0"/>
              </a:spcAft>
              <a:defRPr>
                <a:solidFill>
                  <a:schemeClr val="tx1"/>
                </a:solidFill>
                <a:latin typeface="Arial" panose="020B0604020202020204" pitchFamily="34" charset="0"/>
              </a:defRPr>
            </a:lvl8pPr>
            <a:lvl9pPr marL="3557588" defTabSz="865188" fontAlgn="base">
              <a:spcBef>
                <a:spcPct val="0"/>
              </a:spcBef>
              <a:spcAft>
                <a:spcPct val="0"/>
              </a:spcAft>
              <a:defRPr>
                <a:solidFill>
                  <a:schemeClr val="tx1"/>
                </a:solidFill>
                <a:latin typeface="Arial" panose="020B0604020202020204" pitchFamily="34" charset="0"/>
              </a:defRPr>
            </a:lvl9pPr>
          </a:lstStyle>
          <a:p>
            <a:pPr>
              <a:spcBef>
                <a:spcPct val="50000"/>
              </a:spcBef>
            </a:pPr>
            <a:r>
              <a:rPr lang="de-DE" altLang="de-DE" sz="1900"/>
              <a:t>Grafik: Einzugsstruktur der FH Brandenburg nach Kreisen im SoSe 2005 und WiSe 2005/06</a:t>
            </a:r>
          </a:p>
          <a:p>
            <a:pPr>
              <a:spcBef>
                <a:spcPct val="50000"/>
              </a:spcBef>
            </a:pPr>
            <a:endParaRPr lang="de-DE" altLang="de-DE" sz="1900"/>
          </a:p>
        </p:txBody>
      </p:sp>
      <p:pic>
        <p:nvPicPr>
          <p:cNvPr id="109573" name="Picture 5">
            <a:extLst>
              <a:ext uri="{FF2B5EF4-FFF2-40B4-BE49-F238E27FC236}">
                <a16:creationId xmlns:a16="http://schemas.microsoft.com/office/drawing/2014/main" id="{5DE29AEF-CCD2-D743-A6A8-490E668FB9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425" y="947738"/>
            <a:ext cx="2844800" cy="1500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3">
            <a:extLst>
              <a:ext uri="{FF2B5EF4-FFF2-40B4-BE49-F238E27FC236}">
                <a16:creationId xmlns:a16="http://schemas.microsoft.com/office/drawing/2014/main" id="{5EF0900C-518A-7F49-88A8-5004E2D71E7A}"/>
              </a:ext>
            </a:extLst>
          </p:cNvPr>
          <p:cNvSpPr>
            <a:spLocks noGrp="1"/>
          </p:cNvSpPr>
          <p:nvPr>
            <p:ph type="ftr" sz="quarter" idx="10"/>
          </p:nvPr>
        </p:nvSpPr>
        <p:spPr/>
        <p:txBody>
          <a:bodyPr/>
          <a:lstStyle/>
          <a:p>
            <a:r>
              <a:rPr lang="de-DE" altLang="de-DE"/>
              <a:t>Studienanfängerhoch und Mobilität | Detlef Müller-Böling | 27.08.2007</a:t>
            </a:r>
          </a:p>
        </p:txBody>
      </p:sp>
      <p:sp>
        <p:nvSpPr>
          <p:cNvPr id="6" name="Foliennummernplatzhalter 4">
            <a:extLst>
              <a:ext uri="{FF2B5EF4-FFF2-40B4-BE49-F238E27FC236}">
                <a16:creationId xmlns:a16="http://schemas.microsoft.com/office/drawing/2014/main" id="{261E0264-CD7F-AD46-8A33-8F63BFD90101}"/>
              </a:ext>
            </a:extLst>
          </p:cNvPr>
          <p:cNvSpPr>
            <a:spLocks noGrp="1"/>
          </p:cNvSpPr>
          <p:nvPr>
            <p:ph type="sldNum" sz="quarter" idx="11"/>
          </p:nvPr>
        </p:nvSpPr>
        <p:spPr/>
        <p:txBody>
          <a:bodyPr/>
          <a:lstStyle/>
          <a:p>
            <a:fld id="{3C62C2E1-EE8B-AF49-B27E-5931273DBDB0}" type="slidenum">
              <a:rPr lang="de-DE" altLang="de-DE"/>
              <a:pPr/>
              <a:t>23</a:t>
            </a:fld>
            <a:endParaRPr lang="de-DE" altLang="de-DE"/>
          </a:p>
        </p:txBody>
      </p:sp>
      <p:sp>
        <p:nvSpPr>
          <p:cNvPr id="115714" name="Rectangle 2">
            <a:extLst>
              <a:ext uri="{FF2B5EF4-FFF2-40B4-BE49-F238E27FC236}">
                <a16:creationId xmlns:a16="http://schemas.microsoft.com/office/drawing/2014/main" id="{FBFC09FF-4F81-4349-8347-9C7B50A07F30}"/>
              </a:ext>
            </a:extLst>
          </p:cNvPr>
          <p:cNvSpPr>
            <a:spLocks noGrp="1" noChangeArrowheads="1"/>
          </p:cNvSpPr>
          <p:nvPr>
            <p:ph type="title"/>
          </p:nvPr>
        </p:nvSpPr>
        <p:spPr>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lIns="91416" tIns="45708" rIns="91416" bIns="45708"/>
          <a:lstStyle/>
          <a:p>
            <a:r>
              <a:rPr lang="de-DE" altLang="de-DE" sz="2500"/>
              <a:t>Prognose der Studienanfängerzahlen - Hochschule</a:t>
            </a:r>
          </a:p>
        </p:txBody>
      </p:sp>
      <p:graphicFrame>
        <p:nvGraphicFramePr>
          <p:cNvPr id="115715" name="Object 3">
            <a:extLst>
              <a:ext uri="{FF2B5EF4-FFF2-40B4-BE49-F238E27FC236}">
                <a16:creationId xmlns:a16="http://schemas.microsoft.com/office/drawing/2014/main" id="{1838DC60-BA37-474A-8EF6-9B9E5953E919}"/>
              </a:ext>
            </a:extLst>
          </p:cNvPr>
          <p:cNvGraphicFramePr>
            <a:graphicFrameLocks noChangeAspect="1"/>
          </p:cNvGraphicFramePr>
          <p:nvPr>
            <p:ph idx="1"/>
          </p:nvPr>
        </p:nvGraphicFramePr>
        <p:xfrm>
          <a:off x="1295400" y="1927225"/>
          <a:ext cx="6254750" cy="4129088"/>
        </p:xfrm>
        <a:graphic>
          <a:graphicData uri="http://schemas.openxmlformats.org/presentationml/2006/ole">
            <mc:AlternateContent xmlns:mc="http://schemas.openxmlformats.org/markup-compatibility/2006">
              <mc:Choice xmlns:v="urn:schemas-microsoft-com:vml" Requires="v">
                <p:oleObj spid="_x0000_s115717" name="Diagramm" r:id="rId4" imgW="6908800" imgH="4559300" progId="Excel.Chart.8">
                  <p:embed/>
                </p:oleObj>
              </mc:Choice>
              <mc:Fallback>
                <p:oleObj name="Diagramm" r:id="rId4" imgW="6908800" imgH="4559300" progId="Excel.Chart.8">
                  <p:embed/>
                  <p:pic>
                    <p:nvPicPr>
                      <p:cNvPr id="0"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5400" y="1927225"/>
                        <a:ext cx="6254750" cy="412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15716" name="Rectangle 4">
            <a:extLst>
              <a:ext uri="{FF2B5EF4-FFF2-40B4-BE49-F238E27FC236}">
                <a16:creationId xmlns:a16="http://schemas.microsoft.com/office/drawing/2014/main" id="{9332A654-FCA5-8D47-97D5-2EA40986BC78}"/>
              </a:ext>
            </a:extLst>
          </p:cNvPr>
          <p:cNvSpPr>
            <a:spLocks noChangeArrowheads="1"/>
          </p:cNvSpPr>
          <p:nvPr/>
        </p:nvSpPr>
        <p:spPr bwMode="auto">
          <a:xfrm>
            <a:off x="0" y="947738"/>
            <a:ext cx="8932863" cy="66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57" tIns="43228" rIns="86457" bIns="43228">
            <a:spAutoFit/>
          </a:bodyPr>
          <a:lstStyle>
            <a:lvl1pPr defTabSz="865188">
              <a:defRPr>
                <a:solidFill>
                  <a:schemeClr val="tx1"/>
                </a:solidFill>
                <a:latin typeface="Arial" panose="020B0604020202020204" pitchFamily="34" charset="0"/>
              </a:defRPr>
            </a:lvl1pPr>
            <a:lvl2pPr marL="431800" defTabSz="865188">
              <a:defRPr>
                <a:solidFill>
                  <a:schemeClr val="tx1"/>
                </a:solidFill>
                <a:latin typeface="Arial" panose="020B0604020202020204" pitchFamily="34" charset="0"/>
              </a:defRPr>
            </a:lvl2pPr>
            <a:lvl3pPr marL="865188" defTabSz="865188">
              <a:defRPr>
                <a:solidFill>
                  <a:schemeClr val="tx1"/>
                </a:solidFill>
                <a:latin typeface="Arial" panose="020B0604020202020204" pitchFamily="34" charset="0"/>
              </a:defRPr>
            </a:lvl3pPr>
            <a:lvl4pPr marL="1296988" defTabSz="865188">
              <a:defRPr>
                <a:solidFill>
                  <a:schemeClr val="tx1"/>
                </a:solidFill>
                <a:latin typeface="Arial" panose="020B0604020202020204" pitchFamily="34" charset="0"/>
              </a:defRPr>
            </a:lvl4pPr>
            <a:lvl5pPr marL="1728788" defTabSz="865188">
              <a:defRPr>
                <a:solidFill>
                  <a:schemeClr val="tx1"/>
                </a:solidFill>
                <a:latin typeface="Arial" panose="020B0604020202020204" pitchFamily="34" charset="0"/>
              </a:defRPr>
            </a:lvl5pPr>
            <a:lvl6pPr marL="2185988" defTabSz="865188" fontAlgn="base">
              <a:spcBef>
                <a:spcPct val="0"/>
              </a:spcBef>
              <a:spcAft>
                <a:spcPct val="0"/>
              </a:spcAft>
              <a:defRPr>
                <a:solidFill>
                  <a:schemeClr val="tx1"/>
                </a:solidFill>
                <a:latin typeface="Arial" panose="020B0604020202020204" pitchFamily="34" charset="0"/>
              </a:defRPr>
            </a:lvl6pPr>
            <a:lvl7pPr marL="2643188" defTabSz="865188" fontAlgn="base">
              <a:spcBef>
                <a:spcPct val="0"/>
              </a:spcBef>
              <a:spcAft>
                <a:spcPct val="0"/>
              </a:spcAft>
              <a:defRPr>
                <a:solidFill>
                  <a:schemeClr val="tx1"/>
                </a:solidFill>
                <a:latin typeface="Arial" panose="020B0604020202020204" pitchFamily="34" charset="0"/>
              </a:defRPr>
            </a:lvl7pPr>
            <a:lvl8pPr marL="3100388" defTabSz="865188" fontAlgn="base">
              <a:spcBef>
                <a:spcPct val="0"/>
              </a:spcBef>
              <a:spcAft>
                <a:spcPct val="0"/>
              </a:spcAft>
              <a:defRPr>
                <a:solidFill>
                  <a:schemeClr val="tx1"/>
                </a:solidFill>
                <a:latin typeface="Arial" panose="020B0604020202020204" pitchFamily="34" charset="0"/>
              </a:defRPr>
            </a:lvl8pPr>
            <a:lvl9pPr marL="3557588" defTabSz="865188" fontAlgn="base">
              <a:spcBef>
                <a:spcPct val="0"/>
              </a:spcBef>
              <a:spcAft>
                <a:spcPct val="0"/>
              </a:spcAft>
              <a:defRPr>
                <a:solidFill>
                  <a:schemeClr val="tx1"/>
                </a:solidFill>
                <a:latin typeface="Arial" panose="020B0604020202020204" pitchFamily="34" charset="0"/>
              </a:defRPr>
            </a:lvl9pPr>
          </a:lstStyle>
          <a:p>
            <a:pPr>
              <a:spcBef>
                <a:spcPct val="50000"/>
              </a:spcBef>
            </a:pPr>
            <a:r>
              <a:rPr lang="de-DE" altLang="de-DE" sz="1900"/>
              <a:t>Prognose der StudienanfängerInnen der FH Brandenburg aus den Ländern Berlin, Brandenburg, Sachsen-Anhalt</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ußzeilenplatzhalter 4">
            <a:extLst>
              <a:ext uri="{FF2B5EF4-FFF2-40B4-BE49-F238E27FC236}">
                <a16:creationId xmlns:a16="http://schemas.microsoft.com/office/drawing/2014/main" id="{E1FA25F4-6BDB-8043-810D-F4C7F566BA92}"/>
              </a:ext>
            </a:extLst>
          </p:cNvPr>
          <p:cNvSpPr>
            <a:spLocks noGrp="1"/>
          </p:cNvSpPr>
          <p:nvPr>
            <p:ph type="ftr" sz="quarter" idx="10"/>
          </p:nvPr>
        </p:nvSpPr>
        <p:spPr/>
        <p:txBody>
          <a:bodyPr/>
          <a:lstStyle/>
          <a:p>
            <a:r>
              <a:rPr lang="de-DE" altLang="de-DE"/>
              <a:t>Studienanfängerhoch und Mobilität | Detlef Müller-Böling | 27.08.2007</a:t>
            </a:r>
          </a:p>
        </p:txBody>
      </p:sp>
      <p:sp>
        <p:nvSpPr>
          <p:cNvPr id="11" name="Foliennummernplatzhalter 5">
            <a:extLst>
              <a:ext uri="{FF2B5EF4-FFF2-40B4-BE49-F238E27FC236}">
                <a16:creationId xmlns:a16="http://schemas.microsoft.com/office/drawing/2014/main" id="{EAE24933-4F77-6D42-AA37-E9229949ACC2}"/>
              </a:ext>
            </a:extLst>
          </p:cNvPr>
          <p:cNvSpPr>
            <a:spLocks noGrp="1"/>
          </p:cNvSpPr>
          <p:nvPr>
            <p:ph type="sldNum" sz="quarter" idx="11"/>
          </p:nvPr>
        </p:nvSpPr>
        <p:spPr/>
        <p:txBody>
          <a:bodyPr/>
          <a:lstStyle/>
          <a:p>
            <a:fld id="{F12E82EE-0D32-4E41-80D0-93A719A0274C}" type="slidenum">
              <a:rPr lang="de-DE" altLang="de-DE"/>
              <a:pPr/>
              <a:t>24</a:t>
            </a:fld>
            <a:endParaRPr lang="de-DE" altLang="de-DE"/>
          </a:p>
        </p:txBody>
      </p:sp>
      <p:sp>
        <p:nvSpPr>
          <p:cNvPr id="111618" name="Rectangle 2">
            <a:extLst>
              <a:ext uri="{FF2B5EF4-FFF2-40B4-BE49-F238E27FC236}">
                <a16:creationId xmlns:a16="http://schemas.microsoft.com/office/drawing/2014/main" id="{E475E1EF-C44B-D14B-8B92-9C83395AC56C}"/>
              </a:ext>
            </a:extLst>
          </p:cNvPr>
          <p:cNvSpPr>
            <a:spLocks noGrp="1" noChangeArrowheads="1"/>
          </p:cNvSpPr>
          <p:nvPr>
            <p:ph type="title"/>
          </p:nvPr>
        </p:nvSpPr>
        <p:spPr>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lIns="91416" tIns="45708" rIns="91416" bIns="45708"/>
          <a:lstStyle/>
          <a:p>
            <a:r>
              <a:rPr lang="de-DE" altLang="de-DE" sz="2400"/>
              <a:t>Analyse der Einzugsstrukturen - Hochschule</a:t>
            </a:r>
          </a:p>
        </p:txBody>
      </p:sp>
      <p:sp>
        <p:nvSpPr>
          <p:cNvPr id="111619" name="Text Box 3">
            <a:extLst>
              <a:ext uri="{FF2B5EF4-FFF2-40B4-BE49-F238E27FC236}">
                <a16:creationId xmlns:a16="http://schemas.microsoft.com/office/drawing/2014/main" id="{49E34196-9424-504C-A12E-8D9FBF8BF2DF}"/>
              </a:ext>
            </a:extLst>
          </p:cNvPr>
          <p:cNvSpPr txBox="1">
            <a:spLocks noChangeArrowheads="1"/>
          </p:cNvSpPr>
          <p:nvPr/>
        </p:nvSpPr>
        <p:spPr bwMode="auto">
          <a:xfrm>
            <a:off x="352425" y="881063"/>
            <a:ext cx="8580438" cy="48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57" tIns="43228" rIns="86457" bIns="43228">
            <a:spAutoFit/>
          </a:bodyPr>
          <a:lstStyle>
            <a:lvl1pPr defTabSz="865188">
              <a:defRPr>
                <a:solidFill>
                  <a:schemeClr val="tx1"/>
                </a:solidFill>
                <a:latin typeface="Arial" panose="020B0604020202020204" pitchFamily="34" charset="0"/>
              </a:defRPr>
            </a:lvl1pPr>
            <a:lvl2pPr marL="431800" defTabSz="865188">
              <a:defRPr>
                <a:solidFill>
                  <a:schemeClr val="tx1"/>
                </a:solidFill>
                <a:latin typeface="Arial" panose="020B0604020202020204" pitchFamily="34" charset="0"/>
              </a:defRPr>
            </a:lvl2pPr>
            <a:lvl3pPr marL="865188" defTabSz="865188">
              <a:defRPr>
                <a:solidFill>
                  <a:schemeClr val="tx1"/>
                </a:solidFill>
                <a:latin typeface="Arial" panose="020B0604020202020204" pitchFamily="34" charset="0"/>
              </a:defRPr>
            </a:lvl3pPr>
            <a:lvl4pPr marL="1296988" defTabSz="865188">
              <a:defRPr>
                <a:solidFill>
                  <a:schemeClr val="tx1"/>
                </a:solidFill>
                <a:latin typeface="Arial" panose="020B0604020202020204" pitchFamily="34" charset="0"/>
              </a:defRPr>
            </a:lvl4pPr>
            <a:lvl5pPr marL="1728788" defTabSz="865188">
              <a:defRPr>
                <a:solidFill>
                  <a:schemeClr val="tx1"/>
                </a:solidFill>
                <a:latin typeface="Arial" panose="020B0604020202020204" pitchFamily="34" charset="0"/>
              </a:defRPr>
            </a:lvl5pPr>
            <a:lvl6pPr marL="2185988" defTabSz="865188" fontAlgn="base">
              <a:spcBef>
                <a:spcPct val="0"/>
              </a:spcBef>
              <a:spcAft>
                <a:spcPct val="0"/>
              </a:spcAft>
              <a:defRPr>
                <a:solidFill>
                  <a:schemeClr val="tx1"/>
                </a:solidFill>
                <a:latin typeface="Arial" panose="020B0604020202020204" pitchFamily="34" charset="0"/>
              </a:defRPr>
            </a:lvl6pPr>
            <a:lvl7pPr marL="2643188" defTabSz="865188" fontAlgn="base">
              <a:spcBef>
                <a:spcPct val="0"/>
              </a:spcBef>
              <a:spcAft>
                <a:spcPct val="0"/>
              </a:spcAft>
              <a:defRPr>
                <a:solidFill>
                  <a:schemeClr val="tx1"/>
                </a:solidFill>
                <a:latin typeface="Arial" panose="020B0604020202020204" pitchFamily="34" charset="0"/>
              </a:defRPr>
            </a:lvl7pPr>
            <a:lvl8pPr marL="3100388" defTabSz="865188" fontAlgn="base">
              <a:spcBef>
                <a:spcPct val="0"/>
              </a:spcBef>
              <a:spcAft>
                <a:spcPct val="0"/>
              </a:spcAft>
              <a:defRPr>
                <a:solidFill>
                  <a:schemeClr val="tx1"/>
                </a:solidFill>
                <a:latin typeface="Arial" panose="020B0604020202020204" pitchFamily="34" charset="0"/>
              </a:defRPr>
            </a:lvl8pPr>
            <a:lvl9pPr marL="3557588" defTabSz="865188" fontAlgn="base">
              <a:spcBef>
                <a:spcPct val="0"/>
              </a:spcBef>
              <a:spcAft>
                <a:spcPct val="0"/>
              </a:spcAft>
              <a:defRPr>
                <a:solidFill>
                  <a:schemeClr val="tx1"/>
                </a:solidFill>
                <a:latin typeface="Arial" panose="020B0604020202020204" pitchFamily="34" charset="0"/>
              </a:defRPr>
            </a:lvl9pPr>
          </a:lstStyle>
          <a:p>
            <a:pPr>
              <a:spcBef>
                <a:spcPct val="50000"/>
              </a:spcBef>
            </a:pPr>
            <a:endParaRPr lang="de-DE" altLang="de-DE" sz="2600"/>
          </a:p>
        </p:txBody>
      </p:sp>
      <p:pic>
        <p:nvPicPr>
          <p:cNvPr id="111620" name="Picture 4">
            <a:extLst>
              <a:ext uri="{FF2B5EF4-FFF2-40B4-BE49-F238E27FC236}">
                <a16:creationId xmlns:a16="http://schemas.microsoft.com/office/drawing/2014/main" id="{4B40F5FF-5B15-4C43-A60D-4D47CE2FBA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070" t="19006" r="6085" b="19006"/>
          <a:stretch>
            <a:fillRect/>
          </a:stretch>
        </p:blipFill>
        <p:spPr bwMode="auto">
          <a:xfrm>
            <a:off x="2462213" y="815975"/>
            <a:ext cx="6329362" cy="5667375"/>
          </a:xfrm>
          <a:prstGeom prst="rect">
            <a:avLst/>
          </a:prstGeom>
          <a:noFill/>
          <a:extLst>
            <a:ext uri="{909E8E84-426E-40DD-AFC4-6F175D3DCCD1}">
              <a14:hiddenFill xmlns:a14="http://schemas.microsoft.com/office/drawing/2010/main">
                <a:solidFill>
                  <a:srgbClr val="FFFFFF"/>
                </a:solidFill>
              </a14:hiddenFill>
            </a:ext>
          </a:extLst>
        </p:spPr>
      </p:pic>
      <p:grpSp>
        <p:nvGrpSpPr>
          <p:cNvPr id="111621" name="Group 5">
            <a:extLst>
              <a:ext uri="{FF2B5EF4-FFF2-40B4-BE49-F238E27FC236}">
                <a16:creationId xmlns:a16="http://schemas.microsoft.com/office/drawing/2014/main" id="{9E7C5DF7-08B7-C246-90F9-13163E763B76}"/>
              </a:ext>
            </a:extLst>
          </p:cNvPr>
          <p:cNvGrpSpPr>
            <a:grpSpLocks noChangeAspect="1"/>
          </p:cNvGrpSpPr>
          <p:nvPr/>
        </p:nvGrpSpPr>
        <p:grpSpPr bwMode="auto">
          <a:xfrm>
            <a:off x="5978525" y="5715000"/>
            <a:ext cx="2351088" cy="501650"/>
            <a:chOff x="2588" y="-277"/>
            <a:chExt cx="2448" cy="864"/>
          </a:xfrm>
        </p:grpSpPr>
        <p:sp>
          <p:nvSpPr>
            <p:cNvPr id="111622" name="AutoShape 6">
              <a:extLst>
                <a:ext uri="{FF2B5EF4-FFF2-40B4-BE49-F238E27FC236}">
                  <a16:creationId xmlns:a16="http://schemas.microsoft.com/office/drawing/2014/main" id="{89EE469A-13E6-084B-8575-78AA9FC6E72E}"/>
                </a:ext>
              </a:extLst>
            </p:cNvPr>
            <p:cNvSpPr>
              <a:spLocks noChangeAspect="1" noChangeArrowheads="1"/>
            </p:cNvSpPr>
            <p:nvPr/>
          </p:nvSpPr>
          <p:spPr bwMode="auto">
            <a:xfrm>
              <a:off x="2588" y="-277"/>
              <a:ext cx="2448"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11623" name="Rectangle 7">
              <a:extLst>
                <a:ext uri="{FF2B5EF4-FFF2-40B4-BE49-F238E27FC236}">
                  <a16:creationId xmlns:a16="http://schemas.microsoft.com/office/drawing/2014/main" id="{81D185F3-CE7E-6E46-BC0C-801AE8FBC530}"/>
                </a:ext>
              </a:extLst>
            </p:cNvPr>
            <p:cNvSpPr>
              <a:spLocks noChangeArrowheads="1"/>
            </p:cNvSpPr>
            <p:nvPr/>
          </p:nvSpPr>
          <p:spPr bwMode="auto">
            <a:xfrm>
              <a:off x="2876" y="-133"/>
              <a:ext cx="432" cy="432"/>
            </a:xfrm>
            <a:prstGeom prst="rect">
              <a:avLst/>
            </a:prstGeom>
            <a:solidFill>
              <a:srgbClr val="FF0000">
                <a:alpha val="67999"/>
              </a:srgbClr>
            </a:solidFill>
            <a:ln w="9525">
              <a:solidFill>
                <a:srgbClr val="000000"/>
              </a:solidFill>
              <a:miter lim="800000"/>
              <a:headEnd/>
              <a:tailEnd/>
            </a:ln>
          </p:spPr>
          <p:txBody>
            <a:bodyPr/>
            <a:lstStyle/>
            <a:p>
              <a:endParaRPr lang="de-DE"/>
            </a:p>
          </p:txBody>
        </p:sp>
        <p:sp>
          <p:nvSpPr>
            <p:cNvPr id="111624" name="Text Box 8">
              <a:extLst>
                <a:ext uri="{FF2B5EF4-FFF2-40B4-BE49-F238E27FC236}">
                  <a16:creationId xmlns:a16="http://schemas.microsoft.com/office/drawing/2014/main" id="{300388B0-E36D-1C49-9B65-9B4C9BA8A663}"/>
                </a:ext>
              </a:extLst>
            </p:cNvPr>
            <p:cNvSpPr txBox="1">
              <a:spLocks noChangeArrowheads="1"/>
            </p:cNvSpPr>
            <p:nvPr/>
          </p:nvSpPr>
          <p:spPr bwMode="auto">
            <a:xfrm>
              <a:off x="3452" y="-133"/>
              <a:ext cx="1584"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6445" tIns="43223" rIns="86445" bIns="43223"/>
            <a:lstStyle>
              <a:lvl1pPr defTabSz="766763">
                <a:defRPr>
                  <a:solidFill>
                    <a:schemeClr val="tx1"/>
                  </a:solidFill>
                  <a:latin typeface="Arial" panose="020B0604020202020204" pitchFamily="34" charset="0"/>
                </a:defRPr>
              </a:lvl1pPr>
              <a:lvl2pPr marL="431800" defTabSz="766763">
                <a:defRPr>
                  <a:solidFill>
                    <a:schemeClr val="tx1"/>
                  </a:solidFill>
                  <a:latin typeface="Arial" panose="020B0604020202020204" pitchFamily="34" charset="0"/>
                </a:defRPr>
              </a:lvl2pPr>
              <a:lvl3pPr marL="865188" defTabSz="766763">
                <a:defRPr>
                  <a:solidFill>
                    <a:schemeClr val="tx1"/>
                  </a:solidFill>
                  <a:latin typeface="Arial" panose="020B0604020202020204" pitchFamily="34" charset="0"/>
                </a:defRPr>
              </a:lvl3pPr>
              <a:lvl4pPr marL="1296988" defTabSz="766763">
                <a:defRPr>
                  <a:solidFill>
                    <a:schemeClr val="tx1"/>
                  </a:solidFill>
                  <a:latin typeface="Arial" panose="020B0604020202020204" pitchFamily="34" charset="0"/>
                </a:defRPr>
              </a:lvl4pPr>
              <a:lvl5pPr marL="1728788" defTabSz="766763">
                <a:defRPr>
                  <a:solidFill>
                    <a:schemeClr val="tx1"/>
                  </a:solidFill>
                  <a:latin typeface="Arial" panose="020B0604020202020204" pitchFamily="34" charset="0"/>
                </a:defRPr>
              </a:lvl5pPr>
              <a:lvl6pPr marL="2185988" defTabSz="766763" fontAlgn="base">
                <a:spcBef>
                  <a:spcPct val="0"/>
                </a:spcBef>
                <a:spcAft>
                  <a:spcPct val="0"/>
                </a:spcAft>
                <a:defRPr>
                  <a:solidFill>
                    <a:schemeClr val="tx1"/>
                  </a:solidFill>
                  <a:latin typeface="Arial" panose="020B0604020202020204" pitchFamily="34" charset="0"/>
                </a:defRPr>
              </a:lvl6pPr>
              <a:lvl7pPr marL="2643188" defTabSz="766763" fontAlgn="base">
                <a:spcBef>
                  <a:spcPct val="0"/>
                </a:spcBef>
                <a:spcAft>
                  <a:spcPct val="0"/>
                </a:spcAft>
                <a:defRPr>
                  <a:solidFill>
                    <a:schemeClr val="tx1"/>
                  </a:solidFill>
                  <a:latin typeface="Arial" panose="020B0604020202020204" pitchFamily="34" charset="0"/>
                </a:defRPr>
              </a:lvl7pPr>
              <a:lvl8pPr marL="3100388" defTabSz="766763" fontAlgn="base">
                <a:spcBef>
                  <a:spcPct val="0"/>
                </a:spcBef>
                <a:spcAft>
                  <a:spcPct val="0"/>
                </a:spcAft>
                <a:defRPr>
                  <a:solidFill>
                    <a:schemeClr val="tx1"/>
                  </a:solidFill>
                  <a:latin typeface="Arial" panose="020B0604020202020204" pitchFamily="34" charset="0"/>
                </a:defRPr>
              </a:lvl8pPr>
              <a:lvl9pPr marL="3557588" defTabSz="766763" fontAlgn="base">
                <a:spcBef>
                  <a:spcPct val="0"/>
                </a:spcBef>
                <a:spcAft>
                  <a:spcPct val="0"/>
                </a:spcAft>
                <a:defRPr>
                  <a:solidFill>
                    <a:schemeClr val="tx1"/>
                  </a:solidFill>
                  <a:latin typeface="Arial" panose="020B0604020202020204" pitchFamily="34" charset="0"/>
                </a:defRPr>
              </a:lvl9pPr>
            </a:lstStyle>
            <a:p>
              <a:r>
                <a:rPr lang="de-DE" altLang="de-DE" sz="1100"/>
                <a:t>Anteile FH Brandenburg</a:t>
              </a:r>
              <a:endParaRPr lang="de-DE" altLang="de-DE" sz="1500"/>
            </a:p>
          </p:txBody>
        </p:sp>
      </p:grpSp>
      <p:sp>
        <p:nvSpPr>
          <p:cNvPr id="111625" name="Rectangle 9">
            <a:extLst>
              <a:ext uri="{FF2B5EF4-FFF2-40B4-BE49-F238E27FC236}">
                <a16:creationId xmlns:a16="http://schemas.microsoft.com/office/drawing/2014/main" id="{BC34D16B-F98F-7A4D-8391-7ED52CB66BF2}"/>
              </a:ext>
            </a:extLst>
          </p:cNvPr>
          <p:cNvSpPr>
            <a:spLocks noChangeArrowheads="1"/>
          </p:cNvSpPr>
          <p:nvPr/>
        </p:nvSpPr>
        <p:spPr bwMode="auto">
          <a:xfrm>
            <a:off x="0" y="947738"/>
            <a:ext cx="3095625" cy="225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57" tIns="43228" rIns="86457" bIns="43228">
            <a:spAutoFit/>
          </a:bodyPr>
          <a:lstStyle>
            <a:lvl1pPr defTabSz="865188">
              <a:defRPr>
                <a:solidFill>
                  <a:schemeClr val="tx1"/>
                </a:solidFill>
                <a:latin typeface="Arial" panose="020B0604020202020204" pitchFamily="34" charset="0"/>
              </a:defRPr>
            </a:lvl1pPr>
            <a:lvl2pPr marL="431800" defTabSz="865188">
              <a:defRPr>
                <a:solidFill>
                  <a:schemeClr val="tx1"/>
                </a:solidFill>
                <a:latin typeface="Arial" panose="020B0604020202020204" pitchFamily="34" charset="0"/>
              </a:defRPr>
            </a:lvl2pPr>
            <a:lvl3pPr marL="865188" defTabSz="865188">
              <a:defRPr>
                <a:solidFill>
                  <a:schemeClr val="tx1"/>
                </a:solidFill>
                <a:latin typeface="Arial" panose="020B0604020202020204" pitchFamily="34" charset="0"/>
              </a:defRPr>
            </a:lvl3pPr>
            <a:lvl4pPr marL="1296988" defTabSz="865188">
              <a:defRPr>
                <a:solidFill>
                  <a:schemeClr val="tx1"/>
                </a:solidFill>
                <a:latin typeface="Arial" panose="020B0604020202020204" pitchFamily="34" charset="0"/>
              </a:defRPr>
            </a:lvl4pPr>
            <a:lvl5pPr marL="1728788" defTabSz="865188">
              <a:defRPr>
                <a:solidFill>
                  <a:schemeClr val="tx1"/>
                </a:solidFill>
                <a:latin typeface="Arial" panose="020B0604020202020204" pitchFamily="34" charset="0"/>
              </a:defRPr>
            </a:lvl5pPr>
            <a:lvl6pPr marL="2185988" defTabSz="865188" fontAlgn="base">
              <a:spcBef>
                <a:spcPct val="0"/>
              </a:spcBef>
              <a:spcAft>
                <a:spcPct val="0"/>
              </a:spcAft>
              <a:defRPr>
                <a:solidFill>
                  <a:schemeClr val="tx1"/>
                </a:solidFill>
                <a:latin typeface="Arial" panose="020B0604020202020204" pitchFamily="34" charset="0"/>
              </a:defRPr>
            </a:lvl6pPr>
            <a:lvl7pPr marL="2643188" defTabSz="865188" fontAlgn="base">
              <a:spcBef>
                <a:spcPct val="0"/>
              </a:spcBef>
              <a:spcAft>
                <a:spcPct val="0"/>
              </a:spcAft>
              <a:defRPr>
                <a:solidFill>
                  <a:schemeClr val="tx1"/>
                </a:solidFill>
                <a:latin typeface="Arial" panose="020B0604020202020204" pitchFamily="34" charset="0"/>
              </a:defRPr>
            </a:lvl7pPr>
            <a:lvl8pPr marL="3100388" defTabSz="865188" fontAlgn="base">
              <a:spcBef>
                <a:spcPct val="0"/>
              </a:spcBef>
              <a:spcAft>
                <a:spcPct val="0"/>
              </a:spcAft>
              <a:defRPr>
                <a:solidFill>
                  <a:schemeClr val="tx1"/>
                </a:solidFill>
                <a:latin typeface="Arial" panose="020B0604020202020204" pitchFamily="34" charset="0"/>
              </a:defRPr>
            </a:lvl8pPr>
            <a:lvl9pPr marL="3557588" defTabSz="865188" fontAlgn="base">
              <a:spcBef>
                <a:spcPct val="0"/>
              </a:spcBef>
              <a:spcAft>
                <a:spcPct val="0"/>
              </a:spcAft>
              <a:defRPr>
                <a:solidFill>
                  <a:schemeClr val="tx1"/>
                </a:solidFill>
                <a:latin typeface="Arial" panose="020B0604020202020204" pitchFamily="34" charset="0"/>
              </a:defRPr>
            </a:lvl9pPr>
          </a:lstStyle>
          <a:p>
            <a:pPr>
              <a:spcBef>
                <a:spcPct val="50000"/>
              </a:spcBef>
            </a:pPr>
            <a:r>
              <a:rPr lang="de-DE" altLang="de-DE" sz="1900"/>
              <a:t>Grafik 3: Anteile der FH Brandenburg an StudienanfängerInnen (FH) nach Kreisen im SoSe 2005 und WiSe 2005/06</a:t>
            </a:r>
          </a:p>
          <a:p>
            <a:pPr>
              <a:spcBef>
                <a:spcPct val="50000"/>
              </a:spcBef>
            </a:pPr>
            <a:endParaRPr lang="de-DE" altLang="de-DE" sz="190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ußzeilenplatzhalter 4">
            <a:extLst>
              <a:ext uri="{FF2B5EF4-FFF2-40B4-BE49-F238E27FC236}">
                <a16:creationId xmlns:a16="http://schemas.microsoft.com/office/drawing/2014/main" id="{6DF04F56-FFEA-964C-BDA1-656DC13D9106}"/>
              </a:ext>
            </a:extLst>
          </p:cNvPr>
          <p:cNvSpPr>
            <a:spLocks noGrp="1"/>
          </p:cNvSpPr>
          <p:nvPr>
            <p:ph type="ftr" sz="quarter" idx="10"/>
          </p:nvPr>
        </p:nvSpPr>
        <p:spPr/>
        <p:txBody>
          <a:bodyPr/>
          <a:lstStyle/>
          <a:p>
            <a:r>
              <a:rPr lang="de-DE" altLang="de-DE"/>
              <a:t>Studienanfängerhoch und Mobilität | Detlef Müller-Böling | 27.08.2007</a:t>
            </a:r>
          </a:p>
        </p:txBody>
      </p:sp>
      <p:sp>
        <p:nvSpPr>
          <p:cNvPr id="23" name="Foliennummernplatzhalter 5">
            <a:extLst>
              <a:ext uri="{FF2B5EF4-FFF2-40B4-BE49-F238E27FC236}">
                <a16:creationId xmlns:a16="http://schemas.microsoft.com/office/drawing/2014/main" id="{85D202EC-0E19-314F-B76F-CB44FCA5CE8D}"/>
              </a:ext>
            </a:extLst>
          </p:cNvPr>
          <p:cNvSpPr>
            <a:spLocks noGrp="1"/>
          </p:cNvSpPr>
          <p:nvPr>
            <p:ph type="sldNum" sz="quarter" idx="11"/>
          </p:nvPr>
        </p:nvSpPr>
        <p:spPr/>
        <p:txBody>
          <a:bodyPr/>
          <a:lstStyle/>
          <a:p>
            <a:fld id="{8ED80FDE-1F82-4949-A1CD-79DDE15F0212}" type="slidenum">
              <a:rPr lang="de-DE" altLang="de-DE"/>
              <a:pPr/>
              <a:t>25</a:t>
            </a:fld>
            <a:endParaRPr lang="de-DE" altLang="de-DE"/>
          </a:p>
        </p:txBody>
      </p:sp>
      <p:sp>
        <p:nvSpPr>
          <p:cNvPr id="113666" name="Rectangle 2">
            <a:extLst>
              <a:ext uri="{FF2B5EF4-FFF2-40B4-BE49-F238E27FC236}">
                <a16:creationId xmlns:a16="http://schemas.microsoft.com/office/drawing/2014/main" id="{825665BA-879D-F14D-BB71-F26AAE80AE7B}"/>
              </a:ext>
            </a:extLst>
          </p:cNvPr>
          <p:cNvSpPr>
            <a:spLocks noGrp="1" noChangeArrowheads="1"/>
          </p:cNvSpPr>
          <p:nvPr>
            <p:ph type="title"/>
          </p:nvPr>
        </p:nvSpPr>
        <p:spPr>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lIns="91416" tIns="45708" rIns="91416" bIns="45708"/>
          <a:lstStyle/>
          <a:p>
            <a:r>
              <a:rPr lang="de-DE" altLang="de-DE" sz="2400"/>
              <a:t>Analyse der Einzugsstrukturen - Hochschule</a:t>
            </a:r>
          </a:p>
        </p:txBody>
      </p:sp>
      <p:sp>
        <p:nvSpPr>
          <p:cNvPr id="113667" name="Text Box 3">
            <a:extLst>
              <a:ext uri="{FF2B5EF4-FFF2-40B4-BE49-F238E27FC236}">
                <a16:creationId xmlns:a16="http://schemas.microsoft.com/office/drawing/2014/main" id="{ED7CC314-1BAC-C24C-968F-69B90A1A37AC}"/>
              </a:ext>
            </a:extLst>
          </p:cNvPr>
          <p:cNvSpPr txBox="1">
            <a:spLocks noChangeArrowheads="1"/>
          </p:cNvSpPr>
          <p:nvPr/>
        </p:nvSpPr>
        <p:spPr bwMode="auto">
          <a:xfrm>
            <a:off x="352425" y="881063"/>
            <a:ext cx="8580438" cy="48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57" tIns="43228" rIns="86457" bIns="43228">
            <a:spAutoFit/>
          </a:bodyPr>
          <a:lstStyle>
            <a:lvl1pPr defTabSz="865188">
              <a:defRPr>
                <a:solidFill>
                  <a:schemeClr val="tx1"/>
                </a:solidFill>
                <a:latin typeface="Arial" panose="020B0604020202020204" pitchFamily="34" charset="0"/>
              </a:defRPr>
            </a:lvl1pPr>
            <a:lvl2pPr marL="431800" defTabSz="865188">
              <a:defRPr>
                <a:solidFill>
                  <a:schemeClr val="tx1"/>
                </a:solidFill>
                <a:latin typeface="Arial" panose="020B0604020202020204" pitchFamily="34" charset="0"/>
              </a:defRPr>
            </a:lvl2pPr>
            <a:lvl3pPr marL="865188" defTabSz="865188">
              <a:defRPr>
                <a:solidFill>
                  <a:schemeClr val="tx1"/>
                </a:solidFill>
                <a:latin typeface="Arial" panose="020B0604020202020204" pitchFamily="34" charset="0"/>
              </a:defRPr>
            </a:lvl3pPr>
            <a:lvl4pPr marL="1296988" defTabSz="865188">
              <a:defRPr>
                <a:solidFill>
                  <a:schemeClr val="tx1"/>
                </a:solidFill>
                <a:latin typeface="Arial" panose="020B0604020202020204" pitchFamily="34" charset="0"/>
              </a:defRPr>
            </a:lvl4pPr>
            <a:lvl5pPr marL="1728788" defTabSz="865188">
              <a:defRPr>
                <a:solidFill>
                  <a:schemeClr val="tx1"/>
                </a:solidFill>
                <a:latin typeface="Arial" panose="020B0604020202020204" pitchFamily="34" charset="0"/>
              </a:defRPr>
            </a:lvl5pPr>
            <a:lvl6pPr marL="2185988" defTabSz="865188" fontAlgn="base">
              <a:spcBef>
                <a:spcPct val="0"/>
              </a:spcBef>
              <a:spcAft>
                <a:spcPct val="0"/>
              </a:spcAft>
              <a:defRPr>
                <a:solidFill>
                  <a:schemeClr val="tx1"/>
                </a:solidFill>
                <a:latin typeface="Arial" panose="020B0604020202020204" pitchFamily="34" charset="0"/>
              </a:defRPr>
            </a:lvl6pPr>
            <a:lvl7pPr marL="2643188" defTabSz="865188" fontAlgn="base">
              <a:spcBef>
                <a:spcPct val="0"/>
              </a:spcBef>
              <a:spcAft>
                <a:spcPct val="0"/>
              </a:spcAft>
              <a:defRPr>
                <a:solidFill>
                  <a:schemeClr val="tx1"/>
                </a:solidFill>
                <a:latin typeface="Arial" panose="020B0604020202020204" pitchFamily="34" charset="0"/>
              </a:defRPr>
            </a:lvl7pPr>
            <a:lvl8pPr marL="3100388" defTabSz="865188" fontAlgn="base">
              <a:spcBef>
                <a:spcPct val="0"/>
              </a:spcBef>
              <a:spcAft>
                <a:spcPct val="0"/>
              </a:spcAft>
              <a:defRPr>
                <a:solidFill>
                  <a:schemeClr val="tx1"/>
                </a:solidFill>
                <a:latin typeface="Arial" panose="020B0604020202020204" pitchFamily="34" charset="0"/>
              </a:defRPr>
            </a:lvl8pPr>
            <a:lvl9pPr marL="3557588" defTabSz="865188" fontAlgn="base">
              <a:spcBef>
                <a:spcPct val="0"/>
              </a:spcBef>
              <a:spcAft>
                <a:spcPct val="0"/>
              </a:spcAft>
              <a:defRPr>
                <a:solidFill>
                  <a:schemeClr val="tx1"/>
                </a:solidFill>
                <a:latin typeface="Arial" panose="020B0604020202020204" pitchFamily="34" charset="0"/>
              </a:defRPr>
            </a:lvl9pPr>
          </a:lstStyle>
          <a:p>
            <a:pPr>
              <a:spcBef>
                <a:spcPct val="50000"/>
              </a:spcBef>
            </a:pPr>
            <a:endParaRPr lang="de-DE" altLang="de-DE" sz="2600"/>
          </a:p>
        </p:txBody>
      </p:sp>
      <p:sp>
        <p:nvSpPr>
          <p:cNvPr id="113668" name="Rectangle 4">
            <a:extLst>
              <a:ext uri="{FF2B5EF4-FFF2-40B4-BE49-F238E27FC236}">
                <a16:creationId xmlns:a16="http://schemas.microsoft.com/office/drawing/2014/main" id="{1EAA1364-140C-4345-A54F-D92879BCC23B}"/>
              </a:ext>
            </a:extLst>
          </p:cNvPr>
          <p:cNvSpPr>
            <a:spLocks noChangeArrowheads="1"/>
          </p:cNvSpPr>
          <p:nvPr/>
        </p:nvSpPr>
        <p:spPr bwMode="auto">
          <a:xfrm>
            <a:off x="0" y="947738"/>
            <a:ext cx="3095625" cy="254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457" tIns="43228" rIns="86457" bIns="43228">
            <a:spAutoFit/>
          </a:bodyPr>
          <a:lstStyle>
            <a:lvl1pPr defTabSz="865188">
              <a:defRPr>
                <a:solidFill>
                  <a:schemeClr val="tx1"/>
                </a:solidFill>
                <a:latin typeface="Arial" panose="020B0604020202020204" pitchFamily="34" charset="0"/>
              </a:defRPr>
            </a:lvl1pPr>
            <a:lvl2pPr marL="431800" defTabSz="865188">
              <a:defRPr>
                <a:solidFill>
                  <a:schemeClr val="tx1"/>
                </a:solidFill>
                <a:latin typeface="Arial" panose="020B0604020202020204" pitchFamily="34" charset="0"/>
              </a:defRPr>
            </a:lvl2pPr>
            <a:lvl3pPr marL="865188" defTabSz="865188">
              <a:defRPr>
                <a:solidFill>
                  <a:schemeClr val="tx1"/>
                </a:solidFill>
                <a:latin typeface="Arial" panose="020B0604020202020204" pitchFamily="34" charset="0"/>
              </a:defRPr>
            </a:lvl3pPr>
            <a:lvl4pPr marL="1296988" defTabSz="865188">
              <a:defRPr>
                <a:solidFill>
                  <a:schemeClr val="tx1"/>
                </a:solidFill>
                <a:latin typeface="Arial" panose="020B0604020202020204" pitchFamily="34" charset="0"/>
              </a:defRPr>
            </a:lvl4pPr>
            <a:lvl5pPr marL="1728788" defTabSz="865188">
              <a:defRPr>
                <a:solidFill>
                  <a:schemeClr val="tx1"/>
                </a:solidFill>
                <a:latin typeface="Arial" panose="020B0604020202020204" pitchFamily="34" charset="0"/>
              </a:defRPr>
            </a:lvl5pPr>
            <a:lvl6pPr marL="2185988" defTabSz="865188" fontAlgn="base">
              <a:spcBef>
                <a:spcPct val="0"/>
              </a:spcBef>
              <a:spcAft>
                <a:spcPct val="0"/>
              </a:spcAft>
              <a:defRPr>
                <a:solidFill>
                  <a:schemeClr val="tx1"/>
                </a:solidFill>
                <a:latin typeface="Arial" panose="020B0604020202020204" pitchFamily="34" charset="0"/>
              </a:defRPr>
            </a:lvl6pPr>
            <a:lvl7pPr marL="2643188" defTabSz="865188" fontAlgn="base">
              <a:spcBef>
                <a:spcPct val="0"/>
              </a:spcBef>
              <a:spcAft>
                <a:spcPct val="0"/>
              </a:spcAft>
              <a:defRPr>
                <a:solidFill>
                  <a:schemeClr val="tx1"/>
                </a:solidFill>
                <a:latin typeface="Arial" panose="020B0604020202020204" pitchFamily="34" charset="0"/>
              </a:defRPr>
            </a:lvl7pPr>
            <a:lvl8pPr marL="3100388" defTabSz="865188" fontAlgn="base">
              <a:spcBef>
                <a:spcPct val="0"/>
              </a:spcBef>
              <a:spcAft>
                <a:spcPct val="0"/>
              </a:spcAft>
              <a:defRPr>
                <a:solidFill>
                  <a:schemeClr val="tx1"/>
                </a:solidFill>
                <a:latin typeface="Arial" panose="020B0604020202020204" pitchFamily="34" charset="0"/>
              </a:defRPr>
            </a:lvl8pPr>
            <a:lvl9pPr marL="3557588" defTabSz="865188" fontAlgn="base">
              <a:spcBef>
                <a:spcPct val="0"/>
              </a:spcBef>
              <a:spcAft>
                <a:spcPct val="0"/>
              </a:spcAft>
              <a:defRPr>
                <a:solidFill>
                  <a:schemeClr val="tx1"/>
                </a:solidFill>
                <a:latin typeface="Arial" panose="020B0604020202020204" pitchFamily="34" charset="0"/>
              </a:defRPr>
            </a:lvl9pPr>
          </a:lstStyle>
          <a:p>
            <a:pPr>
              <a:spcBef>
                <a:spcPct val="50000"/>
              </a:spcBef>
            </a:pPr>
            <a:r>
              <a:rPr lang="de-DE" altLang="de-DE" sz="1900"/>
              <a:t>Grafik: Anteile der FH Brandenburg und ihrer Mitbewerber an StudienanfängerInnen (FH) nach Kreisen im SoSe 2005 und WiSe 2005/06</a:t>
            </a:r>
          </a:p>
          <a:p>
            <a:pPr>
              <a:spcBef>
                <a:spcPct val="50000"/>
              </a:spcBef>
            </a:pPr>
            <a:endParaRPr lang="de-DE" altLang="de-DE" sz="1900"/>
          </a:p>
        </p:txBody>
      </p:sp>
      <p:pic>
        <p:nvPicPr>
          <p:cNvPr id="113669" name="Picture 5">
            <a:extLst>
              <a:ext uri="{FF2B5EF4-FFF2-40B4-BE49-F238E27FC236}">
                <a16:creationId xmlns:a16="http://schemas.microsoft.com/office/drawing/2014/main" id="{EDE1291F-2394-7B4F-9521-004657A0F0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070" t="19006" r="6085" b="19006"/>
          <a:stretch>
            <a:fillRect/>
          </a:stretch>
        </p:blipFill>
        <p:spPr bwMode="auto">
          <a:xfrm>
            <a:off x="2673350" y="815975"/>
            <a:ext cx="6237288" cy="5715000"/>
          </a:xfrm>
          <a:prstGeom prst="rect">
            <a:avLst/>
          </a:prstGeom>
          <a:noFill/>
          <a:extLst>
            <a:ext uri="{909E8E84-426E-40DD-AFC4-6F175D3DCCD1}">
              <a14:hiddenFill xmlns:a14="http://schemas.microsoft.com/office/drawing/2010/main">
                <a:solidFill>
                  <a:srgbClr val="FFFFFF"/>
                </a:solidFill>
              </a14:hiddenFill>
            </a:ext>
          </a:extLst>
        </p:spPr>
      </p:pic>
      <p:grpSp>
        <p:nvGrpSpPr>
          <p:cNvPr id="113670" name="Group 6">
            <a:extLst>
              <a:ext uri="{FF2B5EF4-FFF2-40B4-BE49-F238E27FC236}">
                <a16:creationId xmlns:a16="http://schemas.microsoft.com/office/drawing/2014/main" id="{49E12E69-B806-3A49-AFD2-E5232EDE50C1}"/>
              </a:ext>
            </a:extLst>
          </p:cNvPr>
          <p:cNvGrpSpPr>
            <a:grpSpLocks noChangeAspect="1"/>
          </p:cNvGrpSpPr>
          <p:nvPr/>
        </p:nvGrpSpPr>
        <p:grpSpPr bwMode="auto">
          <a:xfrm>
            <a:off x="563563" y="3298825"/>
            <a:ext cx="1785937" cy="2281238"/>
            <a:chOff x="2205" y="1928"/>
            <a:chExt cx="2304" cy="3168"/>
          </a:xfrm>
        </p:grpSpPr>
        <p:sp>
          <p:nvSpPr>
            <p:cNvPr id="113671" name="AutoShape 7">
              <a:extLst>
                <a:ext uri="{FF2B5EF4-FFF2-40B4-BE49-F238E27FC236}">
                  <a16:creationId xmlns:a16="http://schemas.microsoft.com/office/drawing/2014/main" id="{0429459A-46EB-C54E-8CB0-A5F5A7544AE2}"/>
                </a:ext>
              </a:extLst>
            </p:cNvPr>
            <p:cNvSpPr>
              <a:spLocks noChangeAspect="1" noChangeArrowheads="1"/>
            </p:cNvSpPr>
            <p:nvPr/>
          </p:nvSpPr>
          <p:spPr bwMode="auto">
            <a:xfrm>
              <a:off x="2205" y="1928"/>
              <a:ext cx="2304" cy="3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13672" name="Rectangle 8">
              <a:extLst>
                <a:ext uri="{FF2B5EF4-FFF2-40B4-BE49-F238E27FC236}">
                  <a16:creationId xmlns:a16="http://schemas.microsoft.com/office/drawing/2014/main" id="{1EFB61B2-4861-264D-9EE4-5BF4135D4AF0}"/>
                </a:ext>
              </a:extLst>
            </p:cNvPr>
            <p:cNvSpPr>
              <a:spLocks noChangeArrowheads="1"/>
            </p:cNvSpPr>
            <p:nvPr/>
          </p:nvSpPr>
          <p:spPr bwMode="auto">
            <a:xfrm>
              <a:off x="2349" y="2072"/>
              <a:ext cx="288" cy="288"/>
            </a:xfrm>
            <a:prstGeom prst="rect">
              <a:avLst/>
            </a:prstGeom>
            <a:solidFill>
              <a:srgbClr val="FFFF00">
                <a:alpha val="50000"/>
              </a:srgbClr>
            </a:solidFill>
            <a:ln w="9525">
              <a:solidFill>
                <a:srgbClr val="000000"/>
              </a:solidFill>
              <a:miter lim="800000"/>
              <a:headEnd/>
              <a:tailEnd/>
            </a:ln>
          </p:spPr>
          <p:txBody>
            <a:bodyPr/>
            <a:lstStyle/>
            <a:p>
              <a:endParaRPr lang="de-DE"/>
            </a:p>
          </p:txBody>
        </p:sp>
        <p:sp>
          <p:nvSpPr>
            <p:cNvPr id="113673" name="Rectangle 9">
              <a:extLst>
                <a:ext uri="{FF2B5EF4-FFF2-40B4-BE49-F238E27FC236}">
                  <a16:creationId xmlns:a16="http://schemas.microsoft.com/office/drawing/2014/main" id="{C9555136-E3E7-B04D-B0FA-6EC16C69B0BF}"/>
                </a:ext>
              </a:extLst>
            </p:cNvPr>
            <p:cNvSpPr>
              <a:spLocks noChangeArrowheads="1"/>
            </p:cNvSpPr>
            <p:nvPr/>
          </p:nvSpPr>
          <p:spPr bwMode="auto">
            <a:xfrm>
              <a:off x="2349" y="2504"/>
              <a:ext cx="288" cy="288"/>
            </a:xfrm>
            <a:prstGeom prst="rect">
              <a:avLst/>
            </a:prstGeom>
            <a:solidFill>
              <a:srgbClr val="00FF00">
                <a:alpha val="50000"/>
              </a:srgbClr>
            </a:solidFill>
            <a:ln w="9525">
              <a:solidFill>
                <a:srgbClr val="000000"/>
              </a:solidFill>
              <a:miter lim="800000"/>
              <a:headEnd/>
              <a:tailEnd/>
            </a:ln>
          </p:spPr>
          <p:txBody>
            <a:bodyPr/>
            <a:lstStyle/>
            <a:p>
              <a:endParaRPr lang="de-DE"/>
            </a:p>
          </p:txBody>
        </p:sp>
        <p:sp>
          <p:nvSpPr>
            <p:cNvPr id="113674" name="Rectangle 10">
              <a:extLst>
                <a:ext uri="{FF2B5EF4-FFF2-40B4-BE49-F238E27FC236}">
                  <a16:creationId xmlns:a16="http://schemas.microsoft.com/office/drawing/2014/main" id="{ED67C28C-ABD8-0F46-8398-104FAB1FB58C}"/>
                </a:ext>
              </a:extLst>
            </p:cNvPr>
            <p:cNvSpPr>
              <a:spLocks noChangeArrowheads="1"/>
            </p:cNvSpPr>
            <p:nvPr/>
          </p:nvSpPr>
          <p:spPr bwMode="auto">
            <a:xfrm>
              <a:off x="2349" y="2936"/>
              <a:ext cx="288" cy="288"/>
            </a:xfrm>
            <a:prstGeom prst="rect">
              <a:avLst/>
            </a:prstGeom>
            <a:solidFill>
              <a:srgbClr val="00FFFF">
                <a:alpha val="50000"/>
              </a:srgbClr>
            </a:solidFill>
            <a:ln w="9525">
              <a:solidFill>
                <a:srgbClr val="000000"/>
              </a:solidFill>
              <a:miter lim="800000"/>
              <a:headEnd/>
              <a:tailEnd/>
            </a:ln>
          </p:spPr>
          <p:txBody>
            <a:bodyPr/>
            <a:lstStyle/>
            <a:p>
              <a:endParaRPr lang="de-DE"/>
            </a:p>
          </p:txBody>
        </p:sp>
        <p:sp>
          <p:nvSpPr>
            <p:cNvPr id="113675" name="Rectangle 11">
              <a:extLst>
                <a:ext uri="{FF2B5EF4-FFF2-40B4-BE49-F238E27FC236}">
                  <a16:creationId xmlns:a16="http://schemas.microsoft.com/office/drawing/2014/main" id="{0C7D4DB9-5D77-D948-B90C-3FBCC704D089}"/>
                </a:ext>
              </a:extLst>
            </p:cNvPr>
            <p:cNvSpPr>
              <a:spLocks noChangeArrowheads="1"/>
            </p:cNvSpPr>
            <p:nvPr/>
          </p:nvSpPr>
          <p:spPr bwMode="auto">
            <a:xfrm>
              <a:off x="2349" y="3368"/>
              <a:ext cx="288" cy="288"/>
            </a:xfrm>
            <a:prstGeom prst="rect">
              <a:avLst/>
            </a:prstGeom>
            <a:solidFill>
              <a:srgbClr val="CC99FF">
                <a:alpha val="50000"/>
              </a:srgbClr>
            </a:solidFill>
            <a:ln w="9525">
              <a:solidFill>
                <a:srgbClr val="000000"/>
              </a:solidFill>
              <a:miter lim="800000"/>
              <a:headEnd/>
              <a:tailEnd/>
            </a:ln>
          </p:spPr>
          <p:txBody>
            <a:bodyPr/>
            <a:lstStyle/>
            <a:p>
              <a:endParaRPr lang="de-DE"/>
            </a:p>
          </p:txBody>
        </p:sp>
        <p:sp>
          <p:nvSpPr>
            <p:cNvPr id="113676" name="Rectangle 12">
              <a:extLst>
                <a:ext uri="{FF2B5EF4-FFF2-40B4-BE49-F238E27FC236}">
                  <a16:creationId xmlns:a16="http://schemas.microsoft.com/office/drawing/2014/main" id="{E668335F-1733-FB48-B713-56C30C447A98}"/>
                </a:ext>
              </a:extLst>
            </p:cNvPr>
            <p:cNvSpPr>
              <a:spLocks noChangeArrowheads="1"/>
            </p:cNvSpPr>
            <p:nvPr/>
          </p:nvSpPr>
          <p:spPr bwMode="auto">
            <a:xfrm>
              <a:off x="2349" y="3800"/>
              <a:ext cx="288" cy="288"/>
            </a:xfrm>
            <a:prstGeom prst="rect">
              <a:avLst/>
            </a:prstGeom>
            <a:solidFill>
              <a:srgbClr val="FF0000">
                <a:alpha val="50000"/>
              </a:srgbClr>
            </a:solidFill>
            <a:ln w="9525">
              <a:solidFill>
                <a:srgbClr val="000000"/>
              </a:solidFill>
              <a:miter lim="800000"/>
              <a:headEnd/>
              <a:tailEnd/>
            </a:ln>
          </p:spPr>
          <p:txBody>
            <a:bodyPr/>
            <a:lstStyle/>
            <a:p>
              <a:endParaRPr lang="de-DE"/>
            </a:p>
          </p:txBody>
        </p:sp>
        <p:sp>
          <p:nvSpPr>
            <p:cNvPr id="113677" name="Rectangle 13">
              <a:extLst>
                <a:ext uri="{FF2B5EF4-FFF2-40B4-BE49-F238E27FC236}">
                  <a16:creationId xmlns:a16="http://schemas.microsoft.com/office/drawing/2014/main" id="{8BD3673E-3843-3E43-B530-F20C97C43DC1}"/>
                </a:ext>
              </a:extLst>
            </p:cNvPr>
            <p:cNvSpPr>
              <a:spLocks noChangeArrowheads="1"/>
            </p:cNvSpPr>
            <p:nvPr/>
          </p:nvSpPr>
          <p:spPr bwMode="auto">
            <a:xfrm>
              <a:off x="2349" y="4232"/>
              <a:ext cx="288" cy="288"/>
            </a:xfrm>
            <a:prstGeom prst="rect">
              <a:avLst/>
            </a:prstGeom>
            <a:solidFill>
              <a:srgbClr val="000080">
                <a:alpha val="50000"/>
              </a:srgbClr>
            </a:solidFill>
            <a:ln w="9525">
              <a:solidFill>
                <a:srgbClr val="000000"/>
              </a:solidFill>
              <a:miter lim="800000"/>
              <a:headEnd/>
              <a:tailEnd/>
            </a:ln>
          </p:spPr>
          <p:txBody>
            <a:bodyPr/>
            <a:lstStyle/>
            <a:p>
              <a:endParaRPr lang="de-DE"/>
            </a:p>
          </p:txBody>
        </p:sp>
        <p:sp>
          <p:nvSpPr>
            <p:cNvPr id="113678" name="Rectangle 14">
              <a:extLst>
                <a:ext uri="{FF2B5EF4-FFF2-40B4-BE49-F238E27FC236}">
                  <a16:creationId xmlns:a16="http://schemas.microsoft.com/office/drawing/2014/main" id="{92347617-B4DC-9A4E-A5D6-2CDD0D1B1904}"/>
                </a:ext>
              </a:extLst>
            </p:cNvPr>
            <p:cNvSpPr>
              <a:spLocks noChangeArrowheads="1"/>
            </p:cNvSpPr>
            <p:nvPr/>
          </p:nvSpPr>
          <p:spPr bwMode="auto">
            <a:xfrm>
              <a:off x="2349" y="4664"/>
              <a:ext cx="288" cy="288"/>
            </a:xfrm>
            <a:prstGeom prst="rect">
              <a:avLst/>
            </a:prstGeom>
            <a:solidFill>
              <a:srgbClr val="FFFFFF">
                <a:alpha val="50000"/>
              </a:srgbClr>
            </a:solidFill>
            <a:ln w="9525">
              <a:solidFill>
                <a:srgbClr val="000000"/>
              </a:solidFill>
              <a:miter lim="800000"/>
              <a:headEnd/>
              <a:tailEnd/>
            </a:ln>
          </p:spPr>
          <p:txBody>
            <a:bodyPr/>
            <a:lstStyle/>
            <a:p>
              <a:endParaRPr lang="de-DE"/>
            </a:p>
          </p:txBody>
        </p:sp>
        <p:sp>
          <p:nvSpPr>
            <p:cNvPr id="113679" name="Text Box 15">
              <a:extLst>
                <a:ext uri="{FF2B5EF4-FFF2-40B4-BE49-F238E27FC236}">
                  <a16:creationId xmlns:a16="http://schemas.microsoft.com/office/drawing/2014/main" id="{9FB00C27-301F-8141-84BA-825B1204506A}"/>
                </a:ext>
              </a:extLst>
            </p:cNvPr>
            <p:cNvSpPr txBox="1">
              <a:spLocks noChangeArrowheads="1"/>
            </p:cNvSpPr>
            <p:nvPr/>
          </p:nvSpPr>
          <p:spPr bwMode="auto">
            <a:xfrm>
              <a:off x="2781" y="2072"/>
              <a:ext cx="1440" cy="288"/>
            </a:xfrm>
            <a:prstGeom prst="rect">
              <a:avLst/>
            </a:prstGeom>
            <a:solidFill>
              <a:srgbClr val="FFFFFF"/>
            </a:solidFill>
            <a:ln w="9525">
              <a:solidFill>
                <a:srgbClr val="000000"/>
              </a:solidFill>
              <a:miter lim="800000"/>
              <a:headEnd/>
              <a:tailEnd/>
            </a:ln>
          </p:spPr>
          <p:txBody>
            <a:bodyPr lIns="86445" tIns="43223" rIns="86445" bIns="43223"/>
            <a:lstStyle>
              <a:lvl1pPr defTabSz="766763">
                <a:defRPr>
                  <a:solidFill>
                    <a:schemeClr val="tx1"/>
                  </a:solidFill>
                  <a:latin typeface="Arial" panose="020B0604020202020204" pitchFamily="34" charset="0"/>
                </a:defRPr>
              </a:lvl1pPr>
              <a:lvl2pPr marL="431800" defTabSz="766763">
                <a:defRPr>
                  <a:solidFill>
                    <a:schemeClr val="tx1"/>
                  </a:solidFill>
                  <a:latin typeface="Arial" panose="020B0604020202020204" pitchFamily="34" charset="0"/>
                </a:defRPr>
              </a:lvl2pPr>
              <a:lvl3pPr marL="865188" defTabSz="766763">
                <a:defRPr>
                  <a:solidFill>
                    <a:schemeClr val="tx1"/>
                  </a:solidFill>
                  <a:latin typeface="Arial" panose="020B0604020202020204" pitchFamily="34" charset="0"/>
                </a:defRPr>
              </a:lvl3pPr>
              <a:lvl4pPr marL="1296988" defTabSz="766763">
                <a:defRPr>
                  <a:solidFill>
                    <a:schemeClr val="tx1"/>
                  </a:solidFill>
                  <a:latin typeface="Arial" panose="020B0604020202020204" pitchFamily="34" charset="0"/>
                </a:defRPr>
              </a:lvl4pPr>
              <a:lvl5pPr marL="1728788" defTabSz="766763">
                <a:defRPr>
                  <a:solidFill>
                    <a:schemeClr val="tx1"/>
                  </a:solidFill>
                  <a:latin typeface="Arial" panose="020B0604020202020204" pitchFamily="34" charset="0"/>
                </a:defRPr>
              </a:lvl5pPr>
              <a:lvl6pPr marL="2185988" defTabSz="766763" fontAlgn="base">
                <a:spcBef>
                  <a:spcPct val="0"/>
                </a:spcBef>
                <a:spcAft>
                  <a:spcPct val="0"/>
                </a:spcAft>
                <a:defRPr>
                  <a:solidFill>
                    <a:schemeClr val="tx1"/>
                  </a:solidFill>
                  <a:latin typeface="Arial" panose="020B0604020202020204" pitchFamily="34" charset="0"/>
                </a:defRPr>
              </a:lvl6pPr>
              <a:lvl7pPr marL="2643188" defTabSz="766763" fontAlgn="base">
                <a:spcBef>
                  <a:spcPct val="0"/>
                </a:spcBef>
                <a:spcAft>
                  <a:spcPct val="0"/>
                </a:spcAft>
                <a:defRPr>
                  <a:solidFill>
                    <a:schemeClr val="tx1"/>
                  </a:solidFill>
                  <a:latin typeface="Arial" panose="020B0604020202020204" pitchFamily="34" charset="0"/>
                </a:defRPr>
              </a:lvl7pPr>
              <a:lvl8pPr marL="3100388" defTabSz="766763" fontAlgn="base">
                <a:spcBef>
                  <a:spcPct val="0"/>
                </a:spcBef>
                <a:spcAft>
                  <a:spcPct val="0"/>
                </a:spcAft>
                <a:defRPr>
                  <a:solidFill>
                    <a:schemeClr val="tx1"/>
                  </a:solidFill>
                  <a:latin typeface="Arial" panose="020B0604020202020204" pitchFamily="34" charset="0"/>
                </a:defRPr>
              </a:lvl8pPr>
              <a:lvl9pPr marL="3557588" defTabSz="766763" fontAlgn="base">
                <a:spcBef>
                  <a:spcPct val="0"/>
                </a:spcBef>
                <a:spcAft>
                  <a:spcPct val="0"/>
                </a:spcAft>
                <a:defRPr>
                  <a:solidFill>
                    <a:schemeClr val="tx1"/>
                  </a:solidFill>
                  <a:latin typeface="Arial" panose="020B0604020202020204" pitchFamily="34" charset="0"/>
                </a:defRPr>
              </a:lvl9pPr>
            </a:lstStyle>
            <a:p>
              <a:r>
                <a:rPr lang="de-DE" altLang="de-DE" sz="900"/>
                <a:t>FHTW Berlin</a:t>
              </a:r>
              <a:endParaRPr lang="de-DE" altLang="de-DE" sz="1500"/>
            </a:p>
          </p:txBody>
        </p:sp>
        <p:sp>
          <p:nvSpPr>
            <p:cNvPr id="113680" name="Text Box 16">
              <a:extLst>
                <a:ext uri="{FF2B5EF4-FFF2-40B4-BE49-F238E27FC236}">
                  <a16:creationId xmlns:a16="http://schemas.microsoft.com/office/drawing/2014/main" id="{606037D8-21BE-C648-917C-72A561A1D8F3}"/>
                </a:ext>
              </a:extLst>
            </p:cNvPr>
            <p:cNvSpPr txBox="1">
              <a:spLocks noChangeArrowheads="1"/>
            </p:cNvSpPr>
            <p:nvPr/>
          </p:nvSpPr>
          <p:spPr bwMode="auto">
            <a:xfrm>
              <a:off x="2781" y="2504"/>
              <a:ext cx="1440" cy="288"/>
            </a:xfrm>
            <a:prstGeom prst="rect">
              <a:avLst/>
            </a:prstGeom>
            <a:solidFill>
              <a:srgbClr val="FFFFFF"/>
            </a:solidFill>
            <a:ln w="9525">
              <a:solidFill>
                <a:srgbClr val="000000"/>
              </a:solidFill>
              <a:miter lim="800000"/>
              <a:headEnd/>
              <a:tailEnd/>
            </a:ln>
          </p:spPr>
          <p:txBody>
            <a:bodyPr lIns="86445" tIns="43223" rIns="86445" bIns="43223"/>
            <a:lstStyle>
              <a:lvl1pPr defTabSz="766763">
                <a:defRPr>
                  <a:solidFill>
                    <a:schemeClr val="tx1"/>
                  </a:solidFill>
                  <a:latin typeface="Arial" panose="020B0604020202020204" pitchFamily="34" charset="0"/>
                </a:defRPr>
              </a:lvl1pPr>
              <a:lvl2pPr marL="431800" defTabSz="766763">
                <a:defRPr>
                  <a:solidFill>
                    <a:schemeClr val="tx1"/>
                  </a:solidFill>
                  <a:latin typeface="Arial" panose="020B0604020202020204" pitchFamily="34" charset="0"/>
                </a:defRPr>
              </a:lvl2pPr>
              <a:lvl3pPr marL="865188" defTabSz="766763">
                <a:defRPr>
                  <a:solidFill>
                    <a:schemeClr val="tx1"/>
                  </a:solidFill>
                  <a:latin typeface="Arial" panose="020B0604020202020204" pitchFamily="34" charset="0"/>
                </a:defRPr>
              </a:lvl3pPr>
              <a:lvl4pPr marL="1296988" defTabSz="766763">
                <a:defRPr>
                  <a:solidFill>
                    <a:schemeClr val="tx1"/>
                  </a:solidFill>
                  <a:latin typeface="Arial" panose="020B0604020202020204" pitchFamily="34" charset="0"/>
                </a:defRPr>
              </a:lvl4pPr>
              <a:lvl5pPr marL="1728788" defTabSz="766763">
                <a:defRPr>
                  <a:solidFill>
                    <a:schemeClr val="tx1"/>
                  </a:solidFill>
                  <a:latin typeface="Arial" panose="020B0604020202020204" pitchFamily="34" charset="0"/>
                </a:defRPr>
              </a:lvl5pPr>
              <a:lvl6pPr marL="2185988" defTabSz="766763" fontAlgn="base">
                <a:spcBef>
                  <a:spcPct val="0"/>
                </a:spcBef>
                <a:spcAft>
                  <a:spcPct val="0"/>
                </a:spcAft>
                <a:defRPr>
                  <a:solidFill>
                    <a:schemeClr val="tx1"/>
                  </a:solidFill>
                  <a:latin typeface="Arial" panose="020B0604020202020204" pitchFamily="34" charset="0"/>
                </a:defRPr>
              </a:lvl6pPr>
              <a:lvl7pPr marL="2643188" defTabSz="766763" fontAlgn="base">
                <a:spcBef>
                  <a:spcPct val="0"/>
                </a:spcBef>
                <a:spcAft>
                  <a:spcPct val="0"/>
                </a:spcAft>
                <a:defRPr>
                  <a:solidFill>
                    <a:schemeClr val="tx1"/>
                  </a:solidFill>
                  <a:latin typeface="Arial" panose="020B0604020202020204" pitchFamily="34" charset="0"/>
                </a:defRPr>
              </a:lvl7pPr>
              <a:lvl8pPr marL="3100388" defTabSz="766763" fontAlgn="base">
                <a:spcBef>
                  <a:spcPct val="0"/>
                </a:spcBef>
                <a:spcAft>
                  <a:spcPct val="0"/>
                </a:spcAft>
                <a:defRPr>
                  <a:solidFill>
                    <a:schemeClr val="tx1"/>
                  </a:solidFill>
                  <a:latin typeface="Arial" panose="020B0604020202020204" pitchFamily="34" charset="0"/>
                </a:defRPr>
              </a:lvl8pPr>
              <a:lvl9pPr marL="3557588" defTabSz="766763" fontAlgn="base">
                <a:spcBef>
                  <a:spcPct val="0"/>
                </a:spcBef>
                <a:spcAft>
                  <a:spcPct val="0"/>
                </a:spcAft>
                <a:defRPr>
                  <a:solidFill>
                    <a:schemeClr val="tx1"/>
                  </a:solidFill>
                  <a:latin typeface="Arial" panose="020B0604020202020204" pitchFamily="34" charset="0"/>
                </a:defRPr>
              </a:lvl9pPr>
            </a:lstStyle>
            <a:p>
              <a:r>
                <a:rPr lang="de-DE" altLang="de-DE" sz="900"/>
                <a:t>THF Berlin</a:t>
              </a:r>
              <a:endParaRPr lang="de-DE" altLang="de-DE" sz="1500"/>
            </a:p>
          </p:txBody>
        </p:sp>
        <p:sp>
          <p:nvSpPr>
            <p:cNvPr id="113681" name="Text Box 17">
              <a:extLst>
                <a:ext uri="{FF2B5EF4-FFF2-40B4-BE49-F238E27FC236}">
                  <a16:creationId xmlns:a16="http://schemas.microsoft.com/office/drawing/2014/main" id="{0C81DB35-3B61-E14B-88F7-27D6E3A0B008}"/>
                </a:ext>
              </a:extLst>
            </p:cNvPr>
            <p:cNvSpPr txBox="1">
              <a:spLocks noChangeArrowheads="1"/>
            </p:cNvSpPr>
            <p:nvPr/>
          </p:nvSpPr>
          <p:spPr bwMode="auto">
            <a:xfrm>
              <a:off x="2781" y="2936"/>
              <a:ext cx="1440" cy="288"/>
            </a:xfrm>
            <a:prstGeom prst="rect">
              <a:avLst/>
            </a:prstGeom>
            <a:solidFill>
              <a:srgbClr val="FFFFFF"/>
            </a:solidFill>
            <a:ln w="9525">
              <a:solidFill>
                <a:srgbClr val="000000"/>
              </a:solidFill>
              <a:miter lim="800000"/>
              <a:headEnd/>
              <a:tailEnd/>
            </a:ln>
          </p:spPr>
          <p:txBody>
            <a:bodyPr lIns="86445" tIns="43223" rIns="86445" bIns="43223"/>
            <a:lstStyle>
              <a:lvl1pPr defTabSz="766763">
                <a:defRPr>
                  <a:solidFill>
                    <a:schemeClr val="tx1"/>
                  </a:solidFill>
                  <a:latin typeface="Arial" panose="020B0604020202020204" pitchFamily="34" charset="0"/>
                </a:defRPr>
              </a:lvl1pPr>
              <a:lvl2pPr marL="431800" defTabSz="766763">
                <a:defRPr>
                  <a:solidFill>
                    <a:schemeClr val="tx1"/>
                  </a:solidFill>
                  <a:latin typeface="Arial" panose="020B0604020202020204" pitchFamily="34" charset="0"/>
                </a:defRPr>
              </a:lvl2pPr>
              <a:lvl3pPr marL="865188" defTabSz="766763">
                <a:defRPr>
                  <a:solidFill>
                    <a:schemeClr val="tx1"/>
                  </a:solidFill>
                  <a:latin typeface="Arial" panose="020B0604020202020204" pitchFamily="34" charset="0"/>
                </a:defRPr>
              </a:lvl3pPr>
              <a:lvl4pPr marL="1296988" defTabSz="766763">
                <a:defRPr>
                  <a:solidFill>
                    <a:schemeClr val="tx1"/>
                  </a:solidFill>
                  <a:latin typeface="Arial" panose="020B0604020202020204" pitchFamily="34" charset="0"/>
                </a:defRPr>
              </a:lvl4pPr>
              <a:lvl5pPr marL="1728788" defTabSz="766763">
                <a:defRPr>
                  <a:solidFill>
                    <a:schemeClr val="tx1"/>
                  </a:solidFill>
                  <a:latin typeface="Arial" panose="020B0604020202020204" pitchFamily="34" charset="0"/>
                </a:defRPr>
              </a:lvl5pPr>
              <a:lvl6pPr marL="2185988" defTabSz="766763" fontAlgn="base">
                <a:spcBef>
                  <a:spcPct val="0"/>
                </a:spcBef>
                <a:spcAft>
                  <a:spcPct val="0"/>
                </a:spcAft>
                <a:defRPr>
                  <a:solidFill>
                    <a:schemeClr val="tx1"/>
                  </a:solidFill>
                  <a:latin typeface="Arial" panose="020B0604020202020204" pitchFamily="34" charset="0"/>
                </a:defRPr>
              </a:lvl6pPr>
              <a:lvl7pPr marL="2643188" defTabSz="766763" fontAlgn="base">
                <a:spcBef>
                  <a:spcPct val="0"/>
                </a:spcBef>
                <a:spcAft>
                  <a:spcPct val="0"/>
                </a:spcAft>
                <a:defRPr>
                  <a:solidFill>
                    <a:schemeClr val="tx1"/>
                  </a:solidFill>
                  <a:latin typeface="Arial" panose="020B0604020202020204" pitchFamily="34" charset="0"/>
                </a:defRPr>
              </a:lvl7pPr>
              <a:lvl8pPr marL="3100388" defTabSz="766763" fontAlgn="base">
                <a:spcBef>
                  <a:spcPct val="0"/>
                </a:spcBef>
                <a:spcAft>
                  <a:spcPct val="0"/>
                </a:spcAft>
                <a:defRPr>
                  <a:solidFill>
                    <a:schemeClr val="tx1"/>
                  </a:solidFill>
                  <a:latin typeface="Arial" panose="020B0604020202020204" pitchFamily="34" charset="0"/>
                </a:defRPr>
              </a:lvl8pPr>
              <a:lvl9pPr marL="3557588" defTabSz="766763" fontAlgn="base">
                <a:spcBef>
                  <a:spcPct val="0"/>
                </a:spcBef>
                <a:spcAft>
                  <a:spcPct val="0"/>
                </a:spcAft>
                <a:defRPr>
                  <a:solidFill>
                    <a:schemeClr val="tx1"/>
                  </a:solidFill>
                  <a:latin typeface="Arial" panose="020B0604020202020204" pitchFamily="34" charset="0"/>
                </a:defRPr>
              </a:lvl9pPr>
            </a:lstStyle>
            <a:p>
              <a:r>
                <a:rPr lang="de-DE" altLang="de-DE" sz="900"/>
                <a:t>FH Wildau</a:t>
              </a:r>
              <a:endParaRPr lang="de-DE" altLang="de-DE" sz="1500"/>
            </a:p>
          </p:txBody>
        </p:sp>
        <p:sp>
          <p:nvSpPr>
            <p:cNvPr id="113682" name="Text Box 18">
              <a:extLst>
                <a:ext uri="{FF2B5EF4-FFF2-40B4-BE49-F238E27FC236}">
                  <a16:creationId xmlns:a16="http://schemas.microsoft.com/office/drawing/2014/main" id="{831941F7-829F-F34F-8B2D-DEDDF9AB5AEB}"/>
                </a:ext>
              </a:extLst>
            </p:cNvPr>
            <p:cNvSpPr txBox="1">
              <a:spLocks noChangeArrowheads="1"/>
            </p:cNvSpPr>
            <p:nvPr/>
          </p:nvSpPr>
          <p:spPr bwMode="auto">
            <a:xfrm>
              <a:off x="2781" y="3368"/>
              <a:ext cx="1440" cy="288"/>
            </a:xfrm>
            <a:prstGeom prst="rect">
              <a:avLst/>
            </a:prstGeom>
            <a:solidFill>
              <a:srgbClr val="FFFFFF"/>
            </a:solidFill>
            <a:ln w="9525">
              <a:solidFill>
                <a:srgbClr val="000000"/>
              </a:solidFill>
              <a:miter lim="800000"/>
              <a:headEnd/>
              <a:tailEnd/>
            </a:ln>
          </p:spPr>
          <p:txBody>
            <a:bodyPr lIns="86445" tIns="43223" rIns="86445" bIns="43223"/>
            <a:lstStyle>
              <a:lvl1pPr defTabSz="766763">
                <a:defRPr>
                  <a:solidFill>
                    <a:schemeClr val="tx1"/>
                  </a:solidFill>
                  <a:latin typeface="Arial" panose="020B0604020202020204" pitchFamily="34" charset="0"/>
                </a:defRPr>
              </a:lvl1pPr>
              <a:lvl2pPr marL="431800" defTabSz="766763">
                <a:defRPr>
                  <a:solidFill>
                    <a:schemeClr val="tx1"/>
                  </a:solidFill>
                  <a:latin typeface="Arial" panose="020B0604020202020204" pitchFamily="34" charset="0"/>
                </a:defRPr>
              </a:lvl2pPr>
              <a:lvl3pPr marL="865188" defTabSz="766763">
                <a:defRPr>
                  <a:solidFill>
                    <a:schemeClr val="tx1"/>
                  </a:solidFill>
                  <a:latin typeface="Arial" panose="020B0604020202020204" pitchFamily="34" charset="0"/>
                </a:defRPr>
              </a:lvl3pPr>
              <a:lvl4pPr marL="1296988" defTabSz="766763">
                <a:defRPr>
                  <a:solidFill>
                    <a:schemeClr val="tx1"/>
                  </a:solidFill>
                  <a:latin typeface="Arial" panose="020B0604020202020204" pitchFamily="34" charset="0"/>
                </a:defRPr>
              </a:lvl4pPr>
              <a:lvl5pPr marL="1728788" defTabSz="766763">
                <a:defRPr>
                  <a:solidFill>
                    <a:schemeClr val="tx1"/>
                  </a:solidFill>
                  <a:latin typeface="Arial" panose="020B0604020202020204" pitchFamily="34" charset="0"/>
                </a:defRPr>
              </a:lvl5pPr>
              <a:lvl6pPr marL="2185988" defTabSz="766763" fontAlgn="base">
                <a:spcBef>
                  <a:spcPct val="0"/>
                </a:spcBef>
                <a:spcAft>
                  <a:spcPct val="0"/>
                </a:spcAft>
                <a:defRPr>
                  <a:solidFill>
                    <a:schemeClr val="tx1"/>
                  </a:solidFill>
                  <a:latin typeface="Arial" panose="020B0604020202020204" pitchFamily="34" charset="0"/>
                </a:defRPr>
              </a:lvl6pPr>
              <a:lvl7pPr marL="2643188" defTabSz="766763" fontAlgn="base">
                <a:spcBef>
                  <a:spcPct val="0"/>
                </a:spcBef>
                <a:spcAft>
                  <a:spcPct val="0"/>
                </a:spcAft>
                <a:defRPr>
                  <a:solidFill>
                    <a:schemeClr val="tx1"/>
                  </a:solidFill>
                  <a:latin typeface="Arial" panose="020B0604020202020204" pitchFamily="34" charset="0"/>
                </a:defRPr>
              </a:lvl7pPr>
              <a:lvl8pPr marL="3100388" defTabSz="766763" fontAlgn="base">
                <a:spcBef>
                  <a:spcPct val="0"/>
                </a:spcBef>
                <a:spcAft>
                  <a:spcPct val="0"/>
                </a:spcAft>
                <a:defRPr>
                  <a:solidFill>
                    <a:schemeClr val="tx1"/>
                  </a:solidFill>
                  <a:latin typeface="Arial" panose="020B0604020202020204" pitchFamily="34" charset="0"/>
                </a:defRPr>
              </a:lvl8pPr>
              <a:lvl9pPr marL="3557588" defTabSz="766763" fontAlgn="base">
                <a:spcBef>
                  <a:spcPct val="0"/>
                </a:spcBef>
                <a:spcAft>
                  <a:spcPct val="0"/>
                </a:spcAft>
                <a:defRPr>
                  <a:solidFill>
                    <a:schemeClr val="tx1"/>
                  </a:solidFill>
                  <a:latin typeface="Arial" panose="020B0604020202020204" pitchFamily="34" charset="0"/>
                </a:defRPr>
              </a:lvl9pPr>
            </a:lstStyle>
            <a:p>
              <a:r>
                <a:rPr lang="de-DE" altLang="de-DE" sz="900"/>
                <a:t>FH Potsdam</a:t>
              </a:r>
              <a:endParaRPr lang="de-DE" altLang="de-DE" sz="1500"/>
            </a:p>
          </p:txBody>
        </p:sp>
        <p:sp>
          <p:nvSpPr>
            <p:cNvPr id="113683" name="Text Box 19">
              <a:extLst>
                <a:ext uri="{FF2B5EF4-FFF2-40B4-BE49-F238E27FC236}">
                  <a16:creationId xmlns:a16="http://schemas.microsoft.com/office/drawing/2014/main" id="{2A0EA622-05A6-FE4F-B9D2-597B463C22C7}"/>
                </a:ext>
              </a:extLst>
            </p:cNvPr>
            <p:cNvSpPr txBox="1">
              <a:spLocks noChangeArrowheads="1"/>
            </p:cNvSpPr>
            <p:nvPr/>
          </p:nvSpPr>
          <p:spPr bwMode="auto">
            <a:xfrm>
              <a:off x="2781" y="3800"/>
              <a:ext cx="1440" cy="288"/>
            </a:xfrm>
            <a:prstGeom prst="rect">
              <a:avLst/>
            </a:prstGeom>
            <a:solidFill>
              <a:srgbClr val="FFFFFF"/>
            </a:solidFill>
            <a:ln w="9525">
              <a:solidFill>
                <a:srgbClr val="000000"/>
              </a:solidFill>
              <a:miter lim="800000"/>
              <a:headEnd/>
              <a:tailEnd/>
            </a:ln>
          </p:spPr>
          <p:txBody>
            <a:bodyPr lIns="86445" tIns="43223" rIns="86445" bIns="43223"/>
            <a:lstStyle>
              <a:lvl1pPr defTabSz="766763">
                <a:defRPr>
                  <a:solidFill>
                    <a:schemeClr val="tx1"/>
                  </a:solidFill>
                  <a:latin typeface="Arial" panose="020B0604020202020204" pitchFamily="34" charset="0"/>
                </a:defRPr>
              </a:lvl1pPr>
              <a:lvl2pPr marL="431800" defTabSz="766763">
                <a:defRPr>
                  <a:solidFill>
                    <a:schemeClr val="tx1"/>
                  </a:solidFill>
                  <a:latin typeface="Arial" panose="020B0604020202020204" pitchFamily="34" charset="0"/>
                </a:defRPr>
              </a:lvl2pPr>
              <a:lvl3pPr marL="865188" defTabSz="766763">
                <a:defRPr>
                  <a:solidFill>
                    <a:schemeClr val="tx1"/>
                  </a:solidFill>
                  <a:latin typeface="Arial" panose="020B0604020202020204" pitchFamily="34" charset="0"/>
                </a:defRPr>
              </a:lvl3pPr>
              <a:lvl4pPr marL="1296988" defTabSz="766763">
                <a:defRPr>
                  <a:solidFill>
                    <a:schemeClr val="tx1"/>
                  </a:solidFill>
                  <a:latin typeface="Arial" panose="020B0604020202020204" pitchFamily="34" charset="0"/>
                </a:defRPr>
              </a:lvl4pPr>
              <a:lvl5pPr marL="1728788" defTabSz="766763">
                <a:defRPr>
                  <a:solidFill>
                    <a:schemeClr val="tx1"/>
                  </a:solidFill>
                  <a:latin typeface="Arial" panose="020B0604020202020204" pitchFamily="34" charset="0"/>
                </a:defRPr>
              </a:lvl5pPr>
              <a:lvl6pPr marL="2185988" defTabSz="766763" fontAlgn="base">
                <a:spcBef>
                  <a:spcPct val="0"/>
                </a:spcBef>
                <a:spcAft>
                  <a:spcPct val="0"/>
                </a:spcAft>
                <a:defRPr>
                  <a:solidFill>
                    <a:schemeClr val="tx1"/>
                  </a:solidFill>
                  <a:latin typeface="Arial" panose="020B0604020202020204" pitchFamily="34" charset="0"/>
                </a:defRPr>
              </a:lvl6pPr>
              <a:lvl7pPr marL="2643188" defTabSz="766763" fontAlgn="base">
                <a:spcBef>
                  <a:spcPct val="0"/>
                </a:spcBef>
                <a:spcAft>
                  <a:spcPct val="0"/>
                </a:spcAft>
                <a:defRPr>
                  <a:solidFill>
                    <a:schemeClr val="tx1"/>
                  </a:solidFill>
                  <a:latin typeface="Arial" panose="020B0604020202020204" pitchFamily="34" charset="0"/>
                </a:defRPr>
              </a:lvl7pPr>
              <a:lvl8pPr marL="3100388" defTabSz="766763" fontAlgn="base">
                <a:spcBef>
                  <a:spcPct val="0"/>
                </a:spcBef>
                <a:spcAft>
                  <a:spcPct val="0"/>
                </a:spcAft>
                <a:defRPr>
                  <a:solidFill>
                    <a:schemeClr val="tx1"/>
                  </a:solidFill>
                  <a:latin typeface="Arial" panose="020B0604020202020204" pitchFamily="34" charset="0"/>
                </a:defRPr>
              </a:lvl8pPr>
              <a:lvl9pPr marL="3557588" defTabSz="766763" fontAlgn="base">
                <a:spcBef>
                  <a:spcPct val="0"/>
                </a:spcBef>
                <a:spcAft>
                  <a:spcPct val="0"/>
                </a:spcAft>
                <a:defRPr>
                  <a:solidFill>
                    <a:schemeClr val="tx1"/>
                  </a:solidFill>
                  <a:latin typeface="Arial" panose="020B0604020202020204" pitchFamily="34" charset="0"/>
                </a:defRPr>
              </a:lvl9pPr>
            </a:lstStyle>
            <a:p>
              <a:r>
                <a:rPr lang="de-DE" altLang="de-DE" sz="900"/>
                <a:t>FH Brandenburg</a:t>
              </a:r>
              <a:endParaRPr lang="de-DE" altLang="de-DE" sz="1500"/>
            </a:p>
          </p:txBody>
        </p:sp>
        <p:sp>
          <p:nvSpPr>
            <p:cNvPr id="113684" name="Text Box 20">
              <a:extLst>
                <a:ext uri="{FF2B5EF4-FFF2-40B4-BE49-F238E27FC236}">
                  <a16:creationId xmlns:a16="http://schemas.microsoft.com/office/drawing/2014/main" id="{B1B09477-8A57-014C-B610-372236A0666B}"/>
                </a:ext>
              </a:extLst>
            </p:cNvPr>
            <p:cNvSpPr txBox="1">
              <a:spLocks noChangeArrowheads="1"/>
            </p:cNvSpPr>
            <p:nvPr/>
          </p:nvSpPr>
          <p:spPr bwMode="auto">
            <a:xfrm>
              <a:off x="2781" y="4232"/>
              <a:ext cx="1440" cy="288"/>
            </a:xfrm>
            <a:prstGeom prst="rect">
              <a:avLst/>
            </a:prstGeom>
            <a:solidFill>
              <a:srgbClr val="FFFFFF"/>
            </a:solidFill>
            <a:ln w="9525">
              <a:solidFill>
                <a:srgbClr val="000000"/>
              </a:solidFill>
              <a:miter lim="800000"/>
              <a:headEnd/>
              <a:tailEnd/>
            </a:ln>
          </p:spPr>
          <p:txBody>
            <a:bodyPr lIns="86445" tIns="43223" rIns="86445" bIns="43223"/>
            <a:lstStyle>
              <a:lvl1pPr defTabSz="766763">
                <a:defRPr>
                  <a:solidFill>
                    <a:schemeClr val="tx1"/>
                  </a:solidFill>
                  <a:latin typeface="Arial" panose="020B0604020202020204" pitchFamily="34" charset="0"/>
                </a:defRPr>
              </a:lvl1pPr>
              <a:lvl2pPr marL="431800" defTabSz="766763">
                <a:defRPr>
                  <a:solidFill>
                    <a:schemeClr val="tx1"/>
                  </a:solidFill>
                  <a:latin typeface="Arial" panose="020B0604020202020204" pitchFamily="34" charset="0"/>
                </a:defRPr>
              </a:lvl2pPr>
              <a:lvl3pPr marL="865188" defTabSz="766763">
                <a:defRPr>
                  <a:solidFill>
                    <a:schemeClr val="tx1"/>
                  </a:solidFill>
                  <a:latin typeface="Arial" panose="020B0604020202020204" pitchFamily="34" charset="0"/>
                </a:defRPr>
              </a:lvl3pPr>
              <a:lvl4pPr marL="1296988" defTabSz="766763">
                <a:defRPr>
                  <a:solidFill>
                    <a:schemeClr val="tx1"/>
                  </a:solidFill>
                  <a:latin typeface="Arial" panose="020B0604020202020204" pitchFamily="34" charset="0"/>
                </a:defRPr>
              </a:lvl4pPr>
              <a:lvl5pPr marL="1728788" defTabSz="766763">
                <a:defRPr>
                  <a:solidFill>
                    <a:schemeClr val="tx1"/>
                  </a:solidFill>
                  <a:latin typeface="Arial" panose="020B0604020202020204" pitchFamily="34" charset="0"/>
                </a:defRPr>
              </a:lvl5pPr>
              <a:lvl6pPr marL="2185988" defTabSz="766763" fontAlgn="base">
                <a:spcBef>
                  <a:spcPct val="0"/>
                </a:spcBef>
                <a:spcAft>
                  <a:spcPct val="0"/>
                </a:spcAft>
                <a:defRPr>
                  <a:solidFill>
                    <a:schemeClr val="tx1"/>
                  </a:solidFill>
                  <a:latin typeface="Arial" panose="020B0604020202020204" pitchFamily="34" charset="0"/>
                </a:defRPr>
              </a:lvl6pPr>
              <a:lvl7pPr marL="2643188" defTabSz="766763" fontAlgn="base">
                <a:spcBef>
                  <a:spcPct val="0"/>
                </a:spcBef>
                <a:spcAft>
                  <a:spcPct val="0"/>
                </a:spcAft>
                <a:defRPr>
                  <a:solidFill>
                    <a:schemeClr val="tx1"/>
                  </a:solidFill>
                  <a:latin typeface="Arial" panose="020B0604020202020204" pitchFamily="34" charset="0"/>
                </a:defRPr>
              </a:lvl7pPr>
              <a:lvl8pPr marL="3100388" defTabSz="766763" fontAlgn="base">
                <a:spcBef>
                  <a:spcPct val="0"/>
                </a:spcBef>
                <a:spcAft>
                  <a:spcPct val="0"/>
                </a:spcAft>
                <a:defRPr>
                  <a:solidFill>
                    <a:schemeClr val="tx1"/>
                  </a:solidFill>
                  <a:latin typeface="Arial" panose="020B0604020202020204" pitchFamily="34" charset="0"/>
                </a:defRPr>
              </a:lvl8pPr>
              <a:lvl9pPr marL="3557588" defTabSz="766763" fontAlgn="base">
                <a:spcBef>
                  <a:spcPct val="0"/>
                </a:spcBef>
                <a:spcAft>
                  <a:spcPct val="0"/>
                </a:spcAft>
                <a:defRPr>
                  <a:solidFill>
                    <a:schemeClr val="tx1"/>
                  </a:solidFill>
                  <a:latin typeface="Arial" panose="020B0604020202020204" pitchFamily="34" charset="0"/>
                </a:defRPr>
              </a:lvl9pPr>
            </a:lstStyle>
            <a:p>
              <a:r>
                <a:rPr lang="de-DE" altLang="de-DE" sz="900"/>
                <a:t>H Magdeburg</a:t>
              </a:r>
              <a:endParaRPr lang="de-DE" altLang="de-DE" sz="1500"/>
            </a:p>
          </p:txBody>
        </p:sp>
        <p:sp>
          <p:nvSpPr>
            <p:cNvPr id="113685" name="Text Box 21">
              <a:extLst>
                <a:ext uri="{FF2B5EF4-FFF2-40B4-BE49-F238E27FC236}">
                  <a16:creationId xmlns:a16="http://schemas.microsoft.com/office/drawing/2014/main" id="{228B1159-1407-4E44-A2F4-23A4A1A449CB}"/>
                </a:ext>
              </a:extLst>
            </p:cNvPr>
            <p:cNvSpPr txBox="1">
              <a:spLocks noChangeArrowheads="1"/>
            </p:cNvSpPr>
            <p:nvPr/>
          </p:nvSpPr>
          <p:spPr bwMode="auto">
            <a:xfrm>
              <a:off x="2781" y="4664"/>
              <a:ext cx="1440" cy="288"/>
            </a:xfrm>
            <a:prstGeom prst="rect">
              <a:avLst/>
            </a:prstGeom>
            <a:solidFill>
              <a:srgbClr val="FFFFFF"/>
            </a:solidFill>
            <a:ln w="9525">
              <a:solidFill>
                <a:srgbClr val="000000"/>
              </a:solidFill>
              <a:miter lim="800000"/>
              <a:headEnd/>
              <a:tailEnd/>
            </a:ln>
          </p:spPr>
          <p:txBody>
            <a:bodyPr lIns="86445" tIns="43223" rIns="86445" bIns="43223"/>
            <a:lstStyle>
              <a:lvl1pPr defTabSz="766763">
                <a:defRPr>
                  <a:solidFill>
                    <a:schemeClr val="tx1"/>
                  </a:solidFill>
                  <a:latin typeface="Arial" panose="020B0604020202020204" pitchFamily="34" charset="0"/>
                </a:defRPr>
              </a:lvl1pPr>
              <a:lvl2pPr marL="431800" defTabSz="766763">
                <a:defRPr>
                  <a:solidFill>
                    <a:schemeClr val="tx1"/>
                  </a:solidFill>
                  <a:latin typeface="Arial" panose="020B0604020202020204" pitchFamily="34" charset="0"/>
                </a:defRPr>
              </a:lvl2pPr>
              <a:lvl3pPr marL="865188" defTabSz="766763">
                <a:defRPr>
                  <a:solidFill>
                    <a:schemeClr val="tx1"/>
                  </a:solidFill>
                  <a:latin typeface="Arial" panose="020B0604020202020204" pitchFamily="34" charset="0"/>
                </a:defRPr>
              </a:lvl3pPr>
              <a:lvl4pPr marL="1296988" defTabSz="766763">
                <a:defRPr>
                  <a:solidFill>
                    <a:schemeClr val="tx1"/>
                  </a:solidFill>
                  <a:latin typeface="Arial" panose="020B0604020202020204" pitchFamily="34" charset="0"/>
                </a:defRPr>
              </a:lvl4pPr>
              <a:lvl5pPr marL="1728788" defTabSz="766763">
                <a:defRPr>
                  <a:solidFill>
                    <a:schemeClr val="tx1"/>
                  </a:solidFill>
                  <a:latin typeface="Arial" panose="020B0604020202020204" pitchFamily="34" charset="0"/>
                </a:defRPr>
              </a:lvl5pPr>
              <a:lvl6pPr marL="2185988" defTabSz="766763" fontAlgn="base">
                <a:spcBef>
                  <a:spcPct val="0"/>
                </a:spcBef>
                <a:spcAft>
                  <a:spcPct val="0"/>
                </a:spcAft>
                <a:defRPr>
                  <a:solidFill>
                    <a:schemeClr val="tx1"/>
                  </a:solidFill>
                  <a:latin typeface="Arial" panose="020B0604020202020204" pitchFamily="34" charset="0"/>
                </a:defRPr>
              </a:lvl6pPr>
              <a:lvl7pPr marL="2643188" defTabSz="766763" fontAlgn="base">
                <a:spcBef>
                  <a:spcPct val="0"/>
                </a:spcBef>
                <a:spcAft>
                  <a:spcPct val="0"/>
                </a:spcAft>
                <a:defRPr>
                  <a:solidFill>
                    <a:schemeClr val="tx1"/>
                  </a:solidFill>
                  <a:latin typeface="Arial" panose="020B0604020202020204" pitchFamily="34" charset="0"/>
                </a:defRPr>
              </a:lvl7pPr>
              <a:lvl8pPr marL="3100388" defTabSz="766763" fontAlgn="base">
                <a:spcBef>
                  <a:spcPct val="0"/>
                </a:spcBef>
                <a:spcAft>
                  <a:spcPct val="0"/>
                </a:spcAft>
                <a:defRPr>
                  <a:solidFill>
                    <a:schemeClr val="tx1"/>
                  </a:solidFill>
                  <a:latin typeface="Arial" panose="020B0604020202020204" pitchFamily="34" charset="0"/>
                </a:defRPr>
              </a:lvl8pPr>
              <a:lvl9pPr marL="3557588" defTabSz="766763" fontAlgn="base">
                <a:spcBef>
                  <a:spcPct val="0"/>
                </a:spcBef>
                <a:spcAft>
                  <a:spcPct val="0"/>
                </a:spcAft>
                <a:defRPr>
                  <a:solidFill>
                    <a:schemeClr val="tx1"/>
                  </a:solidFill>
                  <a:latin typeface="Arial" panose="020B0604020202020204" pitchFamily="34" charset="0"/>
                </a:defRPr>
              </a:lvl9pPr>
            </a:lstStyle>
            <a:p>
              <a:r>
                <a:rPr lang="de-DE" altLang="de-DE" sz="900"/>
                <a:t>Rest</a:t>
              </a:r>
              <a:endParaRPr lang="de-DE" altLang="de-DE" sz="1500"/>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4448249A-DE8D-A84D-A60D-B368BF5747E8}"/>
              </a:ext>
            </a:extLst>
          </p:cNvPr>
          <p:cNvSpPr>
            <a:spLocks noGrp="1"/>
          </p:cNvSpPr>
          <p:nvPr>
            <p:ph type="ftr" sz="quarter" idx="10"/>
          </p:nvPr>
        </p:nvSpPr>
        <p:spPr/>
        <p:txBody>
          <a:bodyPr/>
          <a:lstStyle/>
          <a:p>
            <a:r>
              <a:rPr lang="de-DE" altLang="de-DE"/>
              <a:t>Studienanfängerhoch und Mobilität | Detlef Müller-Böling | 27.08.2007</a:t>
            </a:r>
          </a:p>
        </p:txBody>
      </p:sp>
      <p:sp>
        <p:nvSpPr>
          <p:cNvPr id="5" name="Foliennummernplatzhalter 4">
            <a:extLst>
              <a:ext uri="{FF2B5EF4-FFF2-40B4-BE49-F238E27FC236}">
                <a16:creationId xmlns:a16="http://schemas.microsoft.com/office/drawing/2014/main" id="{241F34ED-EFD2-934F-8578-2D5F4086C173}"/>
              </a:ext>
            </a:extLst>
          </p:cNvPr>
          <p:cNvSpPr>
            <a:spLocks noGrp="1"/>
          </p:cNvSpPr>
          <p:nvPr>
            <p:ph type="sldNum" sz="quarter" idx="11"/>
          </p:nvPr>
        </p:nvSpPr>
        <p:spPr/>
        <p:txBody>
          <a:bodyPr/>
          <a:lstStyle/>
          <a:p>
            <a:fld id="{45AD33DD-BDAA-B54B-A30E-E15624ED05A8}" type="slidenum">
              <a:rPr lang="de-DE" altLang="de-DE"/>
              <a:pPr/>
              <a:t>3</a:t>
            </a:fld>
            <a:endParaRPr lang="de-DE" altLang="de-DE"/>
          </a:p>
        </p:txBody>
      </p:sp>
      <p:sp>
        <p:nvSpPr>
          <p:cNvPr id="84994" name="Rectangle 2">
            <a:extLst>
              <a:ext uri="{FF2B5EF4-FFF2-40B4-BE49-F238E27FC236}">
                <a16:creationId xmlns:a16="http://schemas.microsoft.com/office/drawing/2014/main" id="{6F1A3061-27AA-F548-A7BA-51F9ED9480CC}"/>
              </a:ext>
            </a:extLst>
          </p:cNvPr>
          <p:cNvSpPr>
            <a:spLocks noGrp="1" noChangeArrowheads="1"/>
          </p:cNvSpPr>
          <p:nvPr>
            <p:ph type="title"/>
          </p:nvPr>
        </p:nvSpPr>
        <p:spPr/>
        <p:txBody>
          <a:bodyPr/>
          <a:lstStyle/>
          <a:p>
            <a:r>
              <a:rPr lang="de-DE" altLang="de-DE"/>
              <a:t>Annahmenset</a:t>
            </a:r>
          </a:p>
        </p:txBody>
      </p:sp>
      <p:sp>
        <p:nvSpPr>
          <p:cNvPr id="84995" name="Rectangle 3">
            <a:extLst>
              <a:ext uri="{FF2B5EF4-FFF2-40B4-BE49-F238E27FC236}">
                <a16:creationId xmlns:a16="http://schemas.microsoft.com/office/drawing/2014/main" id="{C045A5C3-D940-9947-B362-C8AC75D9ECAB}"/>
              </a:ext>
            </a:extLst>
          </p:cNvPr>
          <p:cNvSpPr>
            <a:spLocks noGrp="1" noChangeArrowheads="1"/>
          </p:cNvSpPr>
          <p:nvPr>
            <p:ph type="body" idx="1"/>
          </p:nvPr>
        </p:nvSpPr>
        <p:spPr/>
        <p:txBody>
          <a:bodyPr/>
          <a:lstStyle/>
          <a:p>
            <a:r>
              <a:rPr lang="de-DE" altLang="de-DE"/>
              <a:t>KMK-Prognose der Hochschulzugangsberechtigten aus 2005</a:t>
            </a:r>
          </a:p>
          <a:p>
            <a:r>
              <a:rPr lang="de-DE" altLang="de-DE"/>
              <a:t>Verzögerter, landesspezifischer Übergang zum Studium (Abschlussjahrgang 2000)</a:t>
            </a:r>
          </a:p>
          <a:p>
            <a:r>
              <a:rPr lang="de-DE" altLang="de-DE"/>
              <a:t>Innerdeutsche Mobilität der Studienanfänger (2005)</a:t>
            </a:r>
          </a:p>
          <a:p>
            <a:endParaRPr lang="de-DE" altLang="de-D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4995">
                                            <p:txEl>
                                              <p:pRg st="0" end="0"/>
                                            </p:txEl>
                                          </p:spTgt>
                                        </p:tgtEl>
                                        <p:attrNameLst>
                                          <p:attrName>style.visibility</p:attrName>
                                        </p:attrNameLst>
                                      </p:cBhvr>
                                      <p:to>
                                        <p:strVal val="visible"/>
                                      </p:to>
                                    </p:set>
                                    <p:animEffect transition="in" filter="blinds(horizontal)">
                                      <p:cBhvr>
                                        <p:cTn id="7" dur="500"/>
                                        <p:tgtEl>
                                          <p:spTgt spid="84995">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84995">
                                            <p:txEl>
                                              <p:pRg st="1" end="1"/>
                                            </p:txEl>
                                          </p:spTgt>
                                        </p:tgtEl>
                                        <p:attrNameLst>
                                          <p:attrName>style.visibility</p:attrName>
                                        </p:attrNameLst>
                                      </p:cBhvr>
                                      <p:to>
                                        <p:strVal val="visible"/>
                                      </p:to>
                                    </p:set>
                                    <p:animEffect transition="in" filter="blinds(horizontal)">
                                      <p:cBhvr>
                                        <p:cTn id="12" dur="500"/>
                                        <p:tgtEl>
                                          <p:spTgt spid="84995">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84995">
                                            <p:txEl>
                                              <p:pRg st="2" end="2"/>
                                            </p:txEl>
                                          </p:spTgt>
                                        </p:tgtEl>
                                        <p:attrNameLst>
                                          <p:attrName>style.visibility</p:attrName>
                                        </p:attrNameLst>
                                      </p:cBhvr>
                                      <p:to>
                                        <p:strVal val="visible"/>
                                      </p:to>
                                    </p:set>
                                    <p:animEffect transition="in" filter="blinds(horizontal)">
                                      <p:cBhvr>
                                        <p:cTn id="17" dur="500"/>
                                        <p:tgtEl>
                                          <p:spTgt spid="8499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995"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9D12CA4-34CE-D64D-AF2C-BAFD1F292C0F}"/>
              </a:ext>
            </a:extLst>
          </p:cNvPr>
          <p:cNvSpPr>
            <a:spLocks noGrp="1"/>
          </p:cNvSpPr>
          <p:nvPr>
            <p:ph type="ftr" sz="quarter" idx="10"/>
          </p:nvPr>
        </p:nvSpPr>
        <p:spPr/>
        <p:txBody>
          <a:bodyPr/>
          <a:lstStyle/>
          <a:p>
            <a:r>
              <a:rPr lang="de-DE" altLang="de-DE"/>
              <a:t>Studienanfängerhoch und Mobilität | Detlef Müller-Böling | 27.08.2007</a:t>
            </a:r>
          </a:p>
        </p:txBody>
      </p:sp>
      <p:sp>
        <p:nvSpPr>
          <p:cNvPr id="5" name="Foliennummernplatzhalter 4">
            <a:extLst>
              <a:ext uri="{FF2B5EF4-FFF2-40B4-BE49-F238E27FC236}">
                <a16:creationId xmlns:a16="http://schemas.microsoft.com/office/drawing/2014/main" id="{75B43B25-5F9F-7D43-97FA-B8BF33BD3337}"/>
              </a:ext>
            </a:extLst>
          </p:cNvPr>
          <p:cNvSpPr>
            <a:spLocks noGrp="1"/>
          </p:cNvSpPr>
          <p:nvPr>
            <p:ph type="sldNum" sz="quarter" idx="11"/>
          </p:nvPr>
        </p:nvSpPr>
        <p:spPr/>
        <p:txBody>
          <a:bodyPr/>
          <a:lstStyle/>
          <a:p>
            <a:fld id="{E443A537-96E5-694C-8E31-C2DB516B7527}" type="slidenum">
              <a:rPr lang="de-DE" altLang="de-DE"/>
              <a:pPr/>
              <a:t>4</a:t>
            </a:fld>
            <a:endParaRPr lang="de-DE" altLang="de-DE"/>
          </a:p>
        </p:txBody>
      </p:sp>
      <p:sp>
        <p:nvSpPr>
          <p:cNvPr id="87042" name="Rectangle 2">
            <a:extLst>
              <a:ext uri="{FF2B5EF4-FFF2-40B4-BE49-F238E27FC236}">
                <a16:creationId xmlns:a16="http://schemas.microsoft.com/office/drawing/2014/main" id="{6E01D939-6F7F-5446-B8F4-D76775538CE3}"/>
              </a:ext>
            </a:extLst>
          </p:cNvPr>
          <p:cNvSpPr>
            <a:spLocks noGrp="1" noChangeArrowheads="1"/>
          </p:cNvSpPr>
          <p:nvPr>
            <p:ph type="title"/>
          </p:nvPr>
        </p:nvSpPr>
        <p:spPr/>
        <p:txBody>
          <a:bodyPr/>
          <a:lstStyle/>
          <a:p>
            <a:r>
              <a:rPr lang="de-DE" altLang="de-DE" sz="2400"/>
              <a:t>Gründe für den Indikator Studienanfänger</a:t>
            </a:r>
          </a:p>
        </p:txBody>
      </p:sp>
      <p:sp>
        <p:nvSpPr>
          <p:cNvPr id="87043" name="Rectangle 3">
            <a:extLst>
              <a:ext uri="{FF2B5EF4-FFF2-40B4-BE49-F238E27FC236}">
                <a16:creationId xmlns:a16="http://schemas.microsoft.com/office/drawing/2014/main" id="{5EB00B71-05D9-E147-B296-E590996EB931}"/>
              </a:ext>
            </a:extLst>
          </p:cNvPr>
          <p:cNvSpPr>
            <a:spLocks noGrp="1" noChangeArrowheads="1"/>
          </p:cNvSpPr>
          <p:nvPr>
            <p:ph type="body" idx="1"/>
          </p:nvPr>
        </p:nvSpPr>
        <p:spPr/>
        <p:txBody>
          <a:bodyPr/>
          <a:lstStyle/>
          <a:p>
            <a:pPr>
              <a:buFont typeface="Wingdings" pitchFamily="2" charset="2"/>
              <a:buNone/>
            </a:pPr>
            <a:r>
              <a:rPr lang="de-DE" altLang="de-DE"/>
              <a:t>	Tatsächliche Herausforderung des Hochschulsystems:</a:t>
            </a:r>
          </a:p>
          <a:p>
            <a:r>
              <a:rPr lang="de-DE" altLang="de-DE"/>
              <a:t>Faktisches Teilzeitstudium vieler Studierender</a:t>
            </a:r>
          </a:p>
          <a:p>
            <a:r>
              <a:rPr lang="de-DE" altLang="de-DE"/>
              <a:t>Studienzeitverkürzung (BMS) bedeutet nicht weniger Betreuung</a:t>
            </a:r>
          </a:p>
          <a:p>
            <a:r>
              <a:rPr lang="de-DE" altLang="de-DE"/>
              <a:t>Geringere Abbrecherquoten (Ziel der BMS-Umstellung) </a:t>
            </a:r>
            <a:r>
              <a:rPr lang="de-DE" altLang="de-DE">
                <a:sym typeface="Wingdings" pitchFamily="2" charset="2"/>
              </a:rPr>
              <a:t> größere Absolventenzahlen  umfangreichere Betreuung</a:t>
            </a:r>
            <a:endParaRPr lang="de-DE" altLang="de-D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iterate type="wd">
                                    <p:tmPct val="10000"/>
                                  </p:iterate>
                                  <p:childTnLst>
                                    <p:set>
                                      <p:cBhvr>
                                        <p:cTn id="6" dur="1" fill="hold">
                                          <p:stCondLst>
                                            <p:cond delay="0"/>
                                          </p:stCondLst>
                                        </p:cTn>
                                        <p:tgtEl>
                                          <p:spTgt spid="87043">
                                            <p:txEl>
                                              <p:pRg st="0" end="0"/>
                                            </p:txEl>
                                          </p:spTgt>
                                        </p:tgtEl>
                                        <p:attrNameLst>
                                          <p:attrName>style.visibility</p:attrName>
                                        </p:attrNameLst>
                                      </p:cBhvr>
                                      <p:to>
                                        <p:strVal val="visible"/>
                                      </p:to>
                                    </p:set>
                                    <p:animEffect transition="in" filter="blinds(horizontal)">
                                      <p:cBhvr>
                                        <p:cTn id="7" dur="500"/>
                                        <p:tgtEl>
                                          <p:spTgt spid="87043">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grpId="0" nodeType="clickEffect">
                                  <p:stCondLst>
                                    <p:cond delay="0"/>
                                  </p:stCondLst>
                                  <p:iterate type="wd">
                                    <p:tmPct val="10000"/>
                                  </p:iterate>
                                  <p:childTnLst>
                                    <p:set>
                                      <p:cBhvr>
                                        <p:cTn id="11" dur="1" fill="hold">
                                          <p:stCondLst>
                                            <p:cond delay="0"/>
                                          </p:stCondLst>
                                        </p:cTn>
                                        <p:tgtEl>
                                          <p:spTgt spid="87043">
                                            <p:txEl>
                                              <p:pRg st="1" end="1"/>
                                            </p:txEl>
                                          </p:spTgt>
                                        </p:tgtEl>
                                        <p:attrNameLst>
                                          <p:attrName>style.visibility</p:attrName>
                                        </p:attrNameLst>
                                      </p:cBhvr>
                                      <p:to>
                                        <p:strVal val="visible"/>
                                      </p:to>
                                    </p:set>
                                    <p:animEffect transition="in" filter="blinds(horizontal)">
                                      <p:cBhvr>
                                        <p:cTn id="12" dur="500"/>
                                        <p:tgtEl>
                                          <p:spTgt spid="87043">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grpId="0" nodeType="clickEffect">
                                  <p:stCondLst>
                                    <p:cond delay="0"/>
                                  </p:stCondLst>
                                  <p:iterate type="wd">
                                    <p:tmPct val="10000"/>
                                  </p:iterate>
                                  <p:childTnLst>
                                    <p:set>
                                      <p:cBhvr>
                                        <p:cTn id="16" dur="1" fill="hold">
                                          <p:stCondLst>
                                            <p:cond delay="0"/>
                                          </p:stCondLst>
                                        </p:cTn>
                                        <p:tgtEl>
                                          <p:spTgt spid="87043">
                                            <p:txEl>
                                              <p:pRg st="2" end="2"/>
                                            </p:txEl>
                                          </p:spTgt>
                                        </p:tgtEl>
                                        <p:attrNameLst>
                                          <p:attrName>style.visibility</p:attrName>
                                        </p:attrNameLst>
                                      </p:cBhvr>
                                      <p:to>
                                        <p:strVal val="visible"/>
                                      </p:to>
                                    </p:set>
                                    <p:animEffect transition="in" filter="blinds(horizontal)">
                                      <p:cBhvr>
                                        <p:cTn id="17" dur="500"/>
                                        <p:tgtEl>
                                          <p:spTgt spid="87043">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3" presetClass="entr" presetSubtype="10" fill="hold" grpId="0" nodeType="clickEffect">
                                  <p:stCondLst>
                                    <p:cond delay="0"/>
                                  </p:stCondLst>
                                  <p:iterate type="wd">
                                    <p:tmPct val="10000"/>
                                  </p:iterate>
                                  <p:childTnLst>
                                    <p:set>
                                      <p:cBhvr>
                                        <p:cTn id="21" dur="1" fill="hold">
                                          <p:stCondLst>
                                            <p:cond delay="0"/>
                                          </p:stCondLst>
                                        </p:cTn>
                                        <p:tgtEl>
                                          <p:spTgt spid="87043">
                                            <p:txEl>
                                              <p:pRg st="3" end="3"/>
                                            </p:txEl>
                                          </p:spTgt>
                                        </p:tgtEl>
                                        <p:attrNameLst>
                                          <p:attrName>style.visibility</p:attrName>
                                        </p:attrNameLst>
                                      </p:cBhvr>
                                      <p:to>
                                        <p:strVal val="visible"/>
                                      </p:to>
                                    </p:set>
                                    <p:animEffect transition="in" filter="blinds(horizontal)">
                                      <p:cBhvr>
                                        <p:cTn id="22" dur="500"/>
                                        <p:tgtEl>
                                          <p:spTgt spid="8704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04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ußzeilenplatzhalter 3">
            <a:extLst>
              <a:ext uri="{FF2B5EF4-FFF2-40B4-BE49-F238E27FC236}">
                <a16:creationId xmlns:a16="http://schemas.microsoft.com/office/drawing/2014/main" id="{277905D0-43B8-4E4F-AC4A-35A8ABF83D32}"/>
              </a:ext>
            </a:extLst>
          </p:cNvPr>
          <p:cNvSpPr>
            <a:spLocks noGrp="1"/>
          </p:cNvSpPr>
          <p:nvPr>
            <p:ph type="ftr" sz="quarter" idx="10"/>
          </p:nvPr>
        </p:nvSpPr>
        <p:spPr/>
        <p:txBody>
          <a:bodyPr/>
          <a:lstStyle/>
          <a:p>
            <a:r>
              <a:rPr lang="de-DE" altLang="de-DE"/>
              <a:t>Studienanfängerhoch und Mobilität | Detlef Müller-Böling | 27.08.2007</a:t>
            </a:r>
          </a:p>
        </p:txBody>
      </p:sp>
      <p:sp>
        <p:nvSpPr>
          <p:cNvPr id="9" name="Foliennummernplatzhalter 4">
            <a:extLst>
              <a:ext uri="{FF2B5EF4-FFF2-40B4-BE49-F238E27FC236}">
                <a16:creationId xmlns:a16="http://schemas.microsoft.com/office/drawing/2014/main" id="{2AF9FB35-7D74-8243-AF6E-A4F769AEC9D6}"/>
              </a:ext>
            </a:extLst>
          </p:cNvPr>
          <p:cNvSpPr>
            <a:spLocks noGrp="1"/>
          </p:cNvSpPr>
          <p:nvPr>
            <p:ph type="sldNum" sz="quarter" idx="11"/>
          </p:nvPr>
        </p:nvSpPr>
        <p:spPr/>
        <p:txBody>
          <a:bodyPr/>
          <a:lstStyle/>
          <a:p>
            <a:fld id="{3AE8759F-3FE9-9246-B2C2-FDBC5F5F5299}" type="slidenum">
              <a:rPr lang="de-DE" altLang="de-DE"/>
              <a:pPr/>
              <a:t>5</a:t>
            </a:fld>
            <a:endParaRPr lang="de-DE" altLang="de-DE"/>
          </a:p>
        </p:txBody>
      </p:sp>
      <p:sp>
        <p:nvSpPr>
          <p:cNvPr id="13315" name="Rectangle 3">
            <a:extLst>
              <a:ext uri="{FF2B5EF4-FFF2-40B4-BE49-F238E27FC236}">
                <a16:creationId xmlns:a16="http://schemas.microsoft.com/office/drawing/2014/main" id="{6FD6FE65-B5D3-D74C-AFF0-538E1AD22CD9}"/>
              </a:ext>
            </a:extLst>
          </p:cNvPr>
          <p:cNvSpPr>
            <a:spLocks noGrp="1" noChangeArrowheads="1"/>
          </p:cNvSpPr>
          <p:nvPr>
            <p:ph type="title"/>
          </p:nvPr>
        </p:nvSpPr>
        <p:spPr/>
        <p:txBody>
          <a:bodyPr/>
          <a:lstStyle/>
          <a:p>
            <a:r>
              <a:rPr lang="de-DE" altLang="de-DE" sz="2400"/>
              <a:t>Prognose der zusätzlichen Nachfrage nach Studienanfängerplätzen bis 2020</a:t>
            </a:r>
          </a:p>
        </p:txBody>
      </p:sp>
      <p:graphicFrame>
        <p:nvGraphicFramePr>
          <p:cNvPr id="13316" name="Object 4">
            <a:extLst>
              <a:ext uri="{FF2B5EF4-FFF2-40B4-BE49-F238E27FC236}">
                <a16:creationId xmlns:a16="http://schemas.microsoft.com/office/drawing/2014/main" id="{86584C04-698E-8C46-9D2D-D0046816D719}"/>
              </a:ext>
            </a:extLst>
          </p:cNvPr>
          <p:cNvGraphicFramePr>
            <a:graphicFrameLocks/>
          </p:cNvGraphicFramePr>
          <p:nvPr>
            <p:ph idx="1"/>
          </p:nvPr>
        </p:nvGraphicFramePr>
        <p:xfrm>
          <a:off x="827088" y="1462088"/>
          <a:ext cx="7416800" cy="4318000"/>
        </p:xfrm>
        <a:graphic>
          <a:graphicData uri="http://schemas.openxmlformats.org/presentationml/2006/ole">
            <mc:AlternateContent xmlns:mc="http://schemas.openxmlformats.org/markup-compatibility/2006">
              <mc:Choice xmlns:v="urn:schemas-microsoft-com:vml" Requires="v">
                <p:oleObj spid="_x0000_s13322" name="Diagramm" r:id="rId4" imgW="5346700" imgH="3111500" progId="Excel.Chart.8">
                  <p:embed/>
                </p:oleObj>
              </mc:Choice>
              <mc:Fallback>
                <p:oleObj name="Diagramm" r:id="rId4" imgW="5346700" imgH="3111500" progId="Excel.Chart.8">
                  <p:embed/>
                  <p:pic>
                    <p:nvPicPr>
                      <p:cNvPr id="0" name="Object 4"/>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7088" y="1462088"/>
                        <a:ext cx="7416800" cy="431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3318" name="Oval 6">
            <a:extLst>
              <a:ext uri="{FF2B5EF4-FFF2-40B4-BE49-F238E27FC236}">
                <a16:creationId xmlns:a16="http://schemas.microsoft.com/office/drawing/2014/main" id="{A63F186F-FC4B-434E-AC2C-ADE4BD7CF8D2}"/>
              </a:ext>
            </a:extLst>
          </p:cNvPr>
          <p:cNvSpPr>
            <a:spLocks noChangeArrowheads="1"/>
          </p:cNvSpPr>
          <p:nvPr/>
        </p:nvSpPr>
        <p:spPr bwMode="auto">
          <a:xfrm>
            <a:off x="5724525" y="2492375"/>
            <a:ext cx="1584325" cy="865188"/>
          </a:xfrm>
          <a:prstGeom prst="ellipse">
            <a:avLst/>
          </a:prstGeom>
          <a:noFill/>
          <a:ln w="25400">
            <a:solidFill>
              <a:srgbClr val="00FFFF"/>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3319" name="Line 7">
            <a:extLst>
              <a:ext uri="{FF2B5EF4-FFF2-40B4-BE49-F238E27FC236}">
                <a16:creationId xmlns:a16="http://schemas.microsoft.com/office/drawing/2014/main" id="{C6F2548C-BD78-4F4D-A5F8-E62FD836BF97}"/>
              </a:ext>
            </a:extLst>
          </p:cNvPr>
          <p:cNvSpPr>
            <a:spLocks noChangeShapeType="1"/>
          </p:cNvSpPr>
          <p:nvPr/>
        </p:nvSpPr>
        <p:spPr bwMode="auto">
          <a:xfrm flipV="1">
            <a:off x="3563938" y="4221163"/>
            <a:ext cx="576262" cy="503237"/>
          </a:xfrm>
          <a:prstGeom prst="line">
            <a:avLst/>
          </a:prstGeom>
          <a:noFill/>
          <a:ln w="25400">
            <a:solidFill>
              <a:srgbClr val="00FF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320" name="Text Box 8">
            <a:extLst>
              <a:ext uri="{FF2B5EF4-FFF2-40B4-BE49-F238E27FC236}">
                <a16:creationId xmlns:a16="http://schemas.microsoft.com/office/drawing/2014/main" id="{DA166FE8-EADE-1A43-A28E-D1E7ABC6A942}"/>
              </a:ext>
            </a:extLst>
          </p:cNvPr>
          <p:cNvSpPr txBox="1">
            <a:spLocks noChangeArrowheads="1"/>
          </p:cNvSpPr>
          <p:nvPr/>
        </p:nvSpPr>
        <p:spPr bwMode="auto">
          <a:xfrm>
            <a:off x="2843213" y="4724400"/>
            <a:ext cx="1512887"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de-DE" altLang="de-DE" b="1"/>
              <a:t>46.000</a:t>
            </a:r>
          </a:p>
        </p:txBody>
      </p:sp>
      <p:sp>
        <p:nvSpPr>
          <p:cNvPr id="13321" name="Text Box 9">
            <a:extLst>
              <a:ext uri="{FF2B5EF4-FFF2-40B4-BE49-F238E27FC236}">
                <a16:creationId xmlns:a16="http://schemas.microsoft.com/office/drawing/2014/main" id="{5A2939B8-A50F-2542-BA92-3C170C394D20}"/>
              </a:ext>
            </a:extLst>
          </p:cNvPr>
          <p:cNvSpPr txBox="1">
            <a:spLocks noChangeArrowheads="1"/>
          </p:cNvSpPr>
          <p:nvPr/>
        </p:nvSpPr>
        <p:spPr bwMode="auto">
          <a:xfrm>
            <a:off x="395288" y="981075"/>
            <a:ext cx="68262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de-DE"/>
              <a:t>Prognose gegenüber dem Basisjahr 2005 (wie im Hochschulpakt)</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4" nodeType="withEffect">
                                  <p:stCondLst>
                                    <p:cond delay="0"/>
                                  </p:stCondLst>
                                  <p:childTnLst>
                                    <p:set>
                                      <p:cBhvr>
                                        <p:cTn id="6" dur="1" fill="hold">
                                          <p:stCondLst>
                                            <p:cond delay="0"/>
                                          </p:stCondLst>
                                        </p:cTn>
                                        <p:tgtEl>
                                          <p:spTgt spid="13316">
                                            <p:oleChartEl type="gridLegend"/>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4" nodeType="clickEffect">
                                  <p:stCondLst>
                                    <p:cond delay="0"/>
                                  </p:stCondLst>
                                  <p:childTnLst>
                                    <p:set>
                                      <p:cBhvr>
                                        <p:cTn id="10" dur="1" fill="hold">
                                          <p:stCondLst>
                                            <p:cond delay="0"/>
                                          </p:stCondLst>
                                        </p:cTn>
                                        <p:tgtEl>
                                          <p:spTgt spid="13316">
                                            <p:oleChartEl type="series" lvl="1"/>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4" nodeType="clickEffect">
                                  <p:stCondLst>
                                    <p:cond delay="0"/>
                                  </p:stCondLst>
                                  <p:childTnLst>
                                    <p:set>
                                      <p:cBhvr>
                                        <p:cTn id="14" dur="1" fill="hold">
                                          <p:stCondLst>
                                            <p:cond delay="0"/>
                                          </p:stCondLst>
                                        </p:cTn>
                                        <p:tgtEl>
                                          <p:spTgt spid="13316">
                                            <p:oleChartEl type="series" lvl="2"/>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4" nodeType="clickEffect">
                                  <p:stCondLst>
                                    <p:cond delay="0"/>
                                  </p:stCondLst>
                                  <p:childTnLst>
                                    <p:set>
                                      <p:cBhvr>
                                        <p:cTn id="18" dur="1" fill="hold">
                                          <p:stCondLst>
                                            <p:cond delay="0"/>
                                          </p:stCondLst>
                                        </p:cTn>
                                        <p:tgtEl>
                                          <p:spTgt spid="13316">
                                            <p:oleChartEl type="series" lvl="3"/>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3" presetClass="entr" presetSubtype="10" fill="hold" nodeType="clickEffect">
                                  <p:stCondLst>
                                    <p:cond delay="0"/>
                                  </p:stCondLst>
                                  <p:childTnLst>
                                    <p:set>
                                      <p:cBhvr>
                                        <p:cTn id="22" dur="1" fill="hold">
                                          <p:stCondLst>
                                            <p:cond delay="0"/>
                                          </p:stCondLst>
                                        </p:cTn>
                                        <p:tgtEl>
                                          <p:spTgt spid="13319"/>
                                        </p:tgtEl>
                                        <p:attrNameLst>
                                          <p:attrName>style.visibility</p:attrName>
                                        </p:attrNameLst>
                                      </p:cBhvr>
                                      <p:to>
                                        <p:strVal val="visible"/>
                                      </p:to>
                                    </p:set>
                                    <p:animEffect transition="in" filter="blinds(horizontal)">
                                      <p:cBhvr>
                                        <p:cTn id="23" dur="500"/>
                                        <p:tgtEl>
                                          <p:spTgt spid="13319"/>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13320"/>
                                        </p:tgtEl>
                                        <p:attrNameLst>
                                          <p:attrName>style.visibility</p:attrName>
                                        </p:attrNameLst>
                                      </p:cBhvr>
                                      <p:to>
                                        <p:strVal val="visible"/>
                                      </p:to>
                                    </p:set>
                                    <p:animEffect transition="in" filter="blinds(horizontal)">
                                      <p:cBhvr>
                                        <p:cTn id="26" dur="500"/>
                                        <p:tgtEl>
                                          <p:spTgt spid="13320"/>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3" presetClass="entr" presetSubtype="10" fill="hold" nodeType="clickEffect">
                                  <p:stCondLst>
                                    <p:cond delay="0"/>
                                  </p:stCondLst>
                                  <p:childTnLst>
                                    <p:set>
                                      <p:cBhvr>
                                        <p:cTn id="30" dur="1" fill="hold">
                                          <p:stCondLst>
                                            <p:cond delay="0"/>
                                          </p:stCondLst>
                                        </p:cTn>
                                        <p:tgtEl>
                                          <p:spTgt spid="13318"/>
                                        </p:tgtEl>
                                        <p:attrNameLst>
                                          <p:attrName>style.visibility</p:attrName>
                                        </p:attrNameLst>
                                      </p:cBhvr>
                                      <p:to>
                                        <p:strVal val="visible"/>
                                      </p:to>
                                    </p:set>
                                    <p:animEffect transition="in" filter="blinds(horizontal)">
                                      <p:cBhvr>
                                        <p:cTn id="31" dur="500"/>
                                        <p:tgtEl>
                                          <p:spTgt spid="133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13316" grpId="4" uiExpand="1" bld="series"/>
      <p:bldP spid="1332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3">
            <a:extLst>
              <a:ext uri="{FF2B5EF4-FFF2-40B4-BE49-F238E27FC236}">
                <a16:creationId xmlns:a16="http://schemas.microsoft.com/office/drawing/2014/main" id="{83F24826-728C-1143-A2E6-0D7653F1F269}"/>
              </a:ext>
            </a:extLst>
          </p:cNvPr>
          <p:cNvSpPr>
            <a:spLocks noGrp="1"/>
          </p:cNvSpPr>
          <p:nvPr>
            <p:ph type="ftr" sz="quarter" idx="10"/>
          </p:nvPr>
        </p:nvSpPr>
        <p:spPr/>
        <p:txBody>
          <a:bodyPr/>
          <a:lstStyle/>
          <a:p>
            <a:r>
              <a:rPr lang="de-DE" altLang="de-DE"/>
              <a:t>Studienanfängerhoch und Mobilität | Detlef Müller-Böling | 27.08.2007</a:t>
            </a:r>
          </a:p>
        </p:txBody>
      </p:sp>
      <p:sp>
        <p:nvSpPr>
          <p:cNvPr id="6" name="Foliennummernplatzhalter 4">
            <a:extLst>
              <a:ext uri="{FF2B5EF4-FFF2-40B4-BE49-F238E27FC236}">
                <a16:creationId xmlns:a16="http://schemas.microsoft.com/office/drawing/2014/main" id="{AD55F125-5E8E-1B4D-94B2-6EBAE3F65EA8}"/>
              </a:ext>
            </a:extLst>
          </p:cNvPr>
          <p:cNvSpPr>
            <a:spLocks noGrp="1"/>
          </p:cNvSpPr>
          <p:nvPr>
            <p:ph type="sldNum" sz="quarter" idx="11"/>
          </p:nvPr>
        </p:nvSpPr>
        <p:spPr/>
        <p:txBody>
          <a:bodyPr/>
          <a:lstStyle/>
          <a:p>
            <a:fld id="{F1E358BF-22BE-FE4C-8D77-A5AF58BBB6E9}" type="slidenum">
              <a:rPr lang="de-DE" altLang="de-DE"/>
              <a:pPr/>
              <a:t>6</a:t>
            </a:fld>
            <a:endParaRPr lang="de-DE" altLang="de-DE"/>
          </a:p>
        </p:txBody>
      </p:sp>
      <p:sp>
        <p:nvSpPr>
          <p:cNvPr id="58370" name="Rectangle 2">
            <a:extLst>
              <a:ext uri="{FF2B5EF4-FFF2-40B4-BE49-F238E27FC236}">
                <a16:creationId xmlns:a16="http://schemas.microsoft.com/office/drawing/2014/main" id="{99609FDF-97DA-744A-A0A6-48C718ED0F12}"/>
              </a:ext>
            </a:extLst>
          </p:cNvPr>
          <p:cNvSpPr>
            <a:spLocks noGrp="1" noChangeArrowheads="1"/>
          </p:cNvSpPr>
          <p:nvPr>
            <p:ph type="title"/>
          </p:nvPr>
        </p:nvSpPr>
        <p:spPr/>
        <p:txBody>
          <a:bodyPr/>
          <a:lstStyle/>
          <a:p>
            <a:r>
              <a:rPr lang="de-DE" altLang="de-DE" sz="2400"/>
              <a:t>Prognose der zusätzlichen Nachfrage nach Studienanfängerplätzen bis 2020</a:t>
            </a:r>
          </a:p>
        </p:txBody>
      </p:sp>
      <p:graphicFrame>
        <p:nvGraphicFramePr>
          <p:cNvPr id="58373" name="Object 5">
            <a:extLst>
              <a:ext uri="{FF2B5EF4-FFF2-40B4-BE49-F238E27FC236}">
                <a16:creationId xmlns:a16="http://schemas.microsoft.com/office/drawing/2014/main" id="{DD1F1860-C817-C94D-8F06-162D4C02CEA5}"/>
              </a:ext>
            </a:extLst>
          </p:cNvPr>
          <p:cNvGraphicFramePr>
            <a:graphicFrameLocks/>
          </p:cNvGraphicFramePr>
          <p:nvPr>
            <p:ph idx="1"/>
          </p:nvPr>
        </p:nvGraphicFramePr>
        <p:xfrm>
          <a:off x="827088" y="1196975"/>
          <a:ext cx="7416800" cy="4848225"/>
        </p:xfrm>
        <a:graphic>
          <a:graphicData uri="http://schemas.openxmlformats.org/presentationml/2006/ole">
            <mc:AlternateContent xmlns:mc="http://schemas.openxmlformats.org/markup-compatibility/2006">
              <mc:Choice xmlns:v="urn:schemas-microsoft-com:vml" Requires="v">
                <p:oleObj spid="_x0000_s58377" name="Diagramm" r:id="rId4" imgW="4673600" imgH="3073400" progId="Excel.Chart.8">
                  <p:embed/>
                </p:oleObj>
              </mc:Choice>
              <mc:Fallback>
                <p:oleObj name="Diagramm" r:id="rId4" imgW="4673600" imgH="3073400" progId="Excel.Chart.8">
                  <p:embed/>
                  <p:pic>
                    <p:nvPicPr>
                      <p:cNvPr id="0" name="Object 5"/>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7088" y="1196975"/>
                        <a:ext cx="7416800" cy="484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8376" name="Text Box 8">
            <a:extLst>
              <a:ext uri="{FF2B5EF4-FFF2-40B4-BE49-F238E27FC236}">
                <a16:creationId xmlns:a16="http://schemas.microsoft.com/office/drawing/2014/main" id="{41734E2B-9AE8-014E-8FDE-B1E414826C42}"/>
              </a:ext>
            </a:extLst>
          </p:cNvPr>
          <p:cNvSpPr txBox="1">
            <a:spLocks noChangeArrowheads="1"/>
          </p:cNvSpPr>
          <p:nvPr/>
        </p:nvSpPr>
        <p:spPr bwMode="auto">
          <a:xfrm>
            <a:off x="395288" y="981075"/>
            <a:ext cx="62674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de-DE"/>
              <a:t>Prognosevergleich: Basis 2005 und Durchschnitt 2000-2004</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58373">
                                            <p:oleChartEl type="gridLegend"/>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8373">
                                            <p:oleChartEl type="series" lvl="1"/>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8373">
                                            <p:oleChartEl type="series" lvl="2"/>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8373">
                                            <p:oleChartEl type="series" lvl="3"/>
                                          </p:spTgt>
                                        </p:tgtEl>
                                        <p:attrNameLst>
                                          <p:attrName>style.visibility</p:attrName>
                                        </p:attrNameLst>
                                      </p:cBhvr>
                                      <p:to>
                                        <p:strVal val="visible"/>
                                      </p:to>
                                    </p:set>
                                  </p:childTnLst>
                                </p:cTn>
                              </p:par>
                              <p:par>
                                <p:cTn id="15" presetID="3" presetClass="entr" presetSubtype="10" fill="hold" grpId="0" nodeType="withEffect">
                                  <p:stCondLst>
                                    <p:cond delay="0"/>
                                  </p:stCondLst>
                                  <p:childTnLst>
                                    <p:set>
                                      <p:cBhvr>
                                        <p:cTn id="16" dur="1" fill="hold">
                                          <p:stCondLst>
                                            <p:cond delay="0"/>
                                          </p:stCondLst>
                                        </p:cTn>
                                        <p:tgtEl>
                                          <p:spTgt spid="58373">
                                            <p:oleChartEl type="series" lvl="4"/>
                                          </p:spTgt>
                                        </p:tgtEl>
                                        <p:attrNameLst>
                                          <p:attrName>style.visibility</p:attrName>
                                        </p:attrNameLst>
                                      </p:cBhvr>
                                      <p:to>
                                        <p:strVal val="visible"/>
                                      </p:to>
                                    </p:set>
                                    <p:animEffect transition="in" filter="blinds(horizontal)">
                                      <p:cBhvr>
                                        <p:cTn id="17" dur="500"/>
                                        <p:tgtEl>
                                          <p:spTgt spid="58373">
                                            <p:oleChartEl type="series" lvl="4"/>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58373" grpId="0" uiExpand="1" bld="series"/>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ußzeilenplatzhalter 3">
            <a:extLst>
              <a:ext uri="{FF2B5EF4-FFF2-40B4-BE49-F238E27FC236}">
                <a16:creationId xmlns:a16="http://schemas.microsoft.com/office/drawing/2014/main" id="{C99CFF08-984E-814C-9FF9-C9E6A571481D}"/>
              </a:ext>
            </a:extLst>
          </p:cNvPr>
          <p:cNvSpPr>
            <a:spLocks noGrp="1"/>
          </p:cNvSpPr>
          <p:nvPr>
            <p:ph type="ftr" sz="quarter" idx="10"/>
          </p:nvPr>
        </p:nvSpPr>
        <p:spPr/>
        <p:txBody>
          <a:bodyPr/>
          <a:lstStyle/>
          <a:p>
            <a:r>
              <a:rPr lang="de-DE" altLang="de-DE"/>
              <a:t>Studienanfängerhoch und Mobilität | Detlef Müller-Böling | 27.08.2007</a:t>
            </a:r>
          </a:p>
        </p:txBody>
      </p:sp>
      <p:sp>
        <p:nvSpPr>
          <p:cNvPr id="9" name="Foliennummernplatzhalter 4">
            <a:extLst>
              <a:ext uri="{FF2B5EF4-FFF2-40B4-BE49-F238E27FC236}">
                <a16:creationId xmlns:a16="http://schemas.microsoft.com/office/drawing/2014/main" id="{4720A761-D086-984B-9B95-CFDCCA4BB918}"/>
              </a:ext>
            </a:extLst>
          </p:cNvPr>
          <p:cNvSpPr>
            <a:spLocks noGrp="1"/>
          </p:cNvSpPr>
          <p:nvPr>
            <p:ph type="sldNum" sz="quarter" idx="11"/>
          </p:nvPr>
        </p:nvSpPr>
        <p:spPr/>
        <p:txBody>
          <a:bodyPr/>
          <a:lstStyle/>
          <a:p>
            <a:fld id="{DE7449F7-DB76-6841-B968-D7D4D96D8854}" type="slidenum">
              <a:rPr lang="de-DE" altLang="de-DE"/>
              <a:pPr/>
              <a:t>7</a:t>
            </a:fld>
            <a:endParaRPr lang="de-DE" altLang="de-DE"/>
          </a:p>
        </p:txBody>
      </p:sp>
      <p:sp>
        <p:nvSpPr>
          <p:cNvPr id="50181" name="Rectangle 5">
            <a:extLst>
              <a:ext uri="{FF2B5EF4-FFF2-40B4-BE49-F238E27FC236}">
                <a16:creationId xmlns:a16="http://schemas.microsoft.com/office/drawing/2014/main" id="{927D064D-6665-CF49-B4B3-D57AC6DB8ABC}"/>
              </a:ext>
            </a:extLst>
          </p:cNvPr>
          <p:cNvSpPr>
            <a:spLocks noGrp="1" noChangeArrowheads="1"/>
          </p:cNvSpPr>
          <p:nvPr>
            <p:ph type="title"/>
          </p:nvPr>
        </p:nvSpPr>
        <p:spPr/>
        <p:txBody>
          <a:bodyPr/>
          <a:lstStyle/>
          <a:p>
            <a:r>
              <a:rPr lang="de-DE" altLang="de-DE" sz="2400"/>
              <a:t>Prognose der zusätzlichen Nachfrage nach Studienanfängerplätzen bis 2020</a:t>
            </a:r>
          </a:p>
        </p:txBody>
      </p:sp>
      <p:graphicFrame>
        <p:nvGraphicFramePr>
          <p:cNvPr id="50180" name="Object 4">
            <a:extLst>
              <a:ext uri="{FF2B5EF4-FFF2-40B4-BE49-F238E27FC236}">
                <a16:creationId xmlns:a16="http://schemas.microsoft.com/office/drawing/2014/main" id="{C7830D37-92C5-C44C-8C37-C08103583D1D}"/>
              </a:ext>
            </a:extLst>
          </p:cNvPr>
          <p:cNvGraphicFramePr>
            <a:graphicFrameLocks/>
          </p:cNvGraphicFramePr>
          <p:nvPr>
            <p:ph idx="1"/>
          </p:nvPr>
        </p:nvGraphicFramePr>
        <p:xfrm>
          <a:off x="827088" y="1196975"/>
          <a:ext cx="7416800" cy="4848225"/>
        </p:xfrm>
        <a:graphic>
          <a:graphicData uri="http://schemas.openxmlformats.org/presentationml/2006/ole">
            <mc:AlternateContent xmlns:mc="http://schemas.openxmlformats.org/markup-compatibility/2006">
              <mc:Choice xmlns:v="urn:schemas-microsoft-com:vml" Requires="v">
                <p:oleObj spid="_x0000_s50187" name="Diagramm" r:id="rId4" imgW="5270500" imgH="2768600" progId="Excel.Chart.8">
                  <p:embed/>
                </p:oleObj>
              </mc:Choice>
              <mc:Fallback>
                <p:oleObj name="Diagramm" r:id="rId4" imgW="5270500" imgH="2768600" progId="Excel.Chart.8">
                  <p:embed/>
                  <p:pic>
                    <p:nvPicPr>
                      <p:cNvPr id="0" name="Object 4"/>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7088" y="1196975"/>
                        <a:ext cx="7416800" cy="484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0183" name="Oval 7">
            <a:extLst>
              <a:ext uri="{FF2B5EF4-FFF2-40B4-BE49-F238E27FC236}">
                <a16:creationId xmlns:a16="http://schemas.microsoft.com/office/drawing/2014/main" id="{ECDDF66C-63A8-984B-9EF4-CA73006BFF03}"/>
              </a:ext>
            </a:extLst>
          </p:cNvPr>
          <p:cNvSpPr>
            <a:spLocks noChangeArrowheads="1"/>
          </p:cNvSpPr>
          <p:nvPr/>
        </p:nvSpPr>
        <p:spPr bwMode="auto">
          <a:xfrm>
            <a:off x="7019925" y="2492375"/>
            <a:ext cx="1584325" cy="865188"/>
          </a:xfrm>
          <a:prstGeom prst="ellipse">
            <a:avLst/>
          </a:prstGeom>
          <a:noFill/>
          <a:ln w="25400">
            <a:solidFill>
              <a:srgbClr val="00FFFF"/>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50184" name="Line 8">
            <a:extLst>
              <a:ext uri="{FF2B5EF4-FFF2-40B4-BE49-F238E27FC236}">
                <a16:creationId xmlns:a16="http://schemas.microsoft.com/office/drawing/2014/main" id="{9CDE24C9-2D21-FA41-8608-B59D05A68871}"/>
              </a:ext>
            </a:extLst>
          </p:cNvPr>
          <p:cNvSpPr>
            <a:spLocks noChangeShapeType="1"/>
          </p:cNvSpPr>
          <p:nvPr/>
        </p:nvSpPr>
        <p:spPr bwMode="auto">
          <a:xfrm flipV="1">
            <a:off x="2987675" y="4797425"/>
            <a:ext cx="1079500" cy="215900"/>
          </a:xfrm>
          <a:prstGeom prst="line">
            <a:avLst/>
          </a:prstGeom>
          <a:noFill/>
          <a:ln w="25400">
            <a:solidFill>
              <a:srgbClr val="00FF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0185" name="Text Box 9">
            <a:extLst>
              <a:ext uri="{FF2B5EF4-FFF2-40B4-BE49-F238E27FC236}">
                <a16:creationId xmlns:a16="http://schemas.microsoft.com/office/drawing/2014/main" id="{404B1832-E64E-2D45-8B24-796D93A5C64D}"/>
              </a:ext>
            </a:extLst>
          </p:cNvPr>
          <p:cNvSpPr txBox="1">
            <a:spLocks noChangeArrowheads="1"/>
          </p:cNvSpPr>
          <p:nvPr/>
        </p:nvSpPr>
        <p:spPr bwMode="auto">
          <a:xfrm>
            <a:off x="1908175" y="4797425"/>
            <a:ext cx="151288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de-DE" altLang="de-DE" b="1"/>
              <a:t>70.000</a:t>
            </a:r>
          </a:p>
        </p:txBody>
      </p:sp>
      <p:sp>
        <p:nvSpPr>
          <p:cNvPr id="50186" name="Text Box 10">
            <a:extLst>
              <a:ext uri="{FF2B5EF4-FFF2-40B4-BE49-F238E27FC236}">
                <a16:creationId xmlns:a16="http://schemas.microsoft.com/office/drawing/2014/main" id="{C5446965-C88D-834D-883D-09BB6CE0BFCF}"/>
              </a:ext>
            </a:extLst>
          </p:cNvPr>
          <p:cNvSpPr txBox="1">
            <a:spLocks noChangeArrowheads="1"/>
          </p:cNvSpPr>
          <p:nvPr/>
        </p:nvSpPr>
        <p:spPr bwMode="auto">
          <a:xfrm>
            <a:off x="395288" y="981075"/>
            <a:ext cx="52133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de-DE"/>
              <a:t>Prognose gegenüber der Basisjahr 2000 bis 2004</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50180">
                                            <p:oleChartEl type="gridLegend"/>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180">
                                            <p:oleChartEl type="series" lvl="1"/>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0180">
                                            <p:oleChartEl type="series" lvl="2"/>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50180">
                                            <p:oleChartEl type="series" lvl="3"/>
                                          </p:spTgt>
                                        </p:tgtEl>
                                        <p:attrNameLst>
                                          <p:attrName>style.visibility</p:attrName>
                                        </p:attrNameLst>
                                      </p:cBhvr>
                                      <p:to>
                                        <p:strVal val="visible"/>
                                      </p:to>
                                    </p:set>
                                    <p:animEffect transition="in" filter="blinds(horizontal)">
                                      <p:cBhvr>
                                        <p:cTn id="15" dur="500"/>
                                        <p:tgtEl>
                                          <p:spTgt spid="50180">
                                            <p:oleChartEl type="series" lvl="3"/>
                                          </p:spTgt>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3" presetClass="entr" presetSubtype="10" fill="hold" nodeType="clickEffect">
                                  <p:stCondLst>
                                    <p:cond delay="0"/>
                                  </p:stCondLst>
                                  <p:childTnLst>
                                    <p:set>
                                      <p:cBhvr>
                                        <p:cTn id="19" dur="1" fill="hold">
                                          <p:stCondLst>
                                            <p:cond delay="0"/>
                                          </p:stCondLst>
                                        </p:cTn>
                                        <p:tgtEl>
                                          <p:spTgt spid="50184"/>
                                        </p:tgtEl>
                                        <p:attrNameLst>
                                          <p:attrName>style.visibility</p:attrName>
                                        </p:attrNameLst>
                                      </p:cBhvr>
                                      <p:to>
                                        <p:strVal val="visible"/>
                                      </p:to>
                                    </p:set>
                                    <p:animEffect transition="in" filter="blinds(horizontal)">
                                      <p:cBhvr>
                                        <p:cTn id="20" dur="500"/>
                                        <p:tgtEl>
                                          <p:spTgt spid="50184"/>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50185"/>
                                        </p:tgtEl>
                                        <p:attrNameLst>
                                          <p:attrName>style.visibility</p:attrName>
                                        </p:attrNameLst>
                                      </p:cBhvr>
                                      <p:to>
                                        <p:strVal val="visible"/>
                                      </p:to>
                                    </p:set>
                                    <p:animEffect transition="in" filter="blinds(horizontal)">
                                      <p:cBhvr>
                                        <p:cTn id="23" dur="500"/>
                                        <p:tgtEl>
                                          <p:spTgt spid="50185"/>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3" presetClass="entr" presetSubtype="10" fill="hold" nodeType="clickEffect">
                                  <p:stCondLst>
                                    <p:cond delay="0"/>
                                  </p:stCondLst>
                                  <p:childTnLst>
                                    <p:set>
                                      <p:cBhvr>
                                        <p:cTn id="27" dur="1" fill="hold">
                                          <p:stCondLst>
                                            <p:cond delay="0"/>
                                          </p:stCondLst>
                                        </p:cTn>
                                        <p:tgtEl>
                                          <p:spTgt spid="50183"/>
                                        </p:tgtEl>
                                        <p:attrNameLst>
                                          <p:attrName>style.visibility</p:attrName>
                                        </p:attrNameLst>
                                      </p:cBhvr>
                                      <p:to>
                                        <p:strVal val="visible"/>
                                      </p:to>
                                    </p:set>
                                    <p:animEffect transition="in" filter="blinds(horizontal)">
                                      <p:cBhvr>
                                        <p:cTn id="28" dur="500"/>
                                        <p:tgtEl>
                                          <p:spTgt spid="501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50180" grpId="0" uiExpand="1" bld="series"/>
      <p:bldP spid="5018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ußzeilenplatzhalter 3">
            <a:extLst>
              <a:ext uri="{FF2B5EF4-FFF2-40B4-BE49-F238E27FC236}">
                <a16:creationId xmlns:a16="http://schemas.microsoft.com/office/drawing/2014/main" id="{F3250A83-7D47-1148-8F3C-BED897BE71FC}"/>
              </a:ext>
            </a:extLst>
          </p:cNvPr>
          <p:cNvSpPr>
            <a:spLocks noGrp="1"/>
          </p:cNvSpPr>
          <p:nvPr>
            <p:ph type="ftr" sz="quarter" idx="10"/>
          </p:nvPr>
        </p:nvSpPr>
        <p:spPr/>
        <p:txBody>
          <a:bodyPr/>
          <a:lstStyle/>
          <a:p>
            <a:r>
              <a:rPr lang="de-DE" altLang="de-DE"/>
              <a:t>Studienanfängerhoch und Mobilität | Detlef Müller-Böling | 27.08.2007</a:t>
            </a:r>
          </a:p>
        </p:txBody>
      </p:sp>
      <p:sp>
        <p:nvSpPr>
          <p:cNvPr id="10" name="Foliennummernplatzhalter 4">
            <a:extLst>
              <a:ext uri="{FF2B5EF4-FFF2-40B4-BE49-F238E27FC236}">
                <a16:creationId xmlns:a16="http://schemas.microsoft.com/office/drawing/2014/main" id="{1EFAB179-1226-204D-B236-A10BF1BA055B}"/>
              </a:ext>
            </a:extLst>
          </p:cNvPr>
          <p:cNvSpPr>
            <a:spLocks noGrp="1"/>
          </p:cNvSpPr>
          <p:nvPr>
            <p:ph type="sldNum" sz="quarter" idx="11"/>
          </p:nvPr>
        </p:nvSpPr>
        <p:spPr/>
        <p:txBody>
          <a:bodyPr/>
          <a:lstStyle/>
          <a:p>
            <a:fld id="{E1D57B50-7C34-B246-B3B3-308ABCE18F92}" type="slidenum">
              <a:rPr lang="de-DE" altLang="de-DE"/>
              <a:pPr/>
              <a:t>8</a:t>
            </a:fld>
            <a:endParaRPr lang="de-DE" altLang="de-DE"/>
          </a:p>
        </p:txBody>
      </p:sp>
      <p:sp>
        <p:nvSpPr>
          <p:cNvPr id="75778" name="Rectangle 2">
            <a:extLst>
              <a:ext uri="{FF2B5EF4-FFF2-40B4-BE49-F238E27FC236}">
                <a16:creationId xmlns:a16="http://schemas.microsoft.com/office/drawing/2014/main" id="{D2EEE761-50D2-6F43-9384-0F8F0419E234}"/>
              </a:ext>
            </a:extLst>
          </p:cNvPr>
          <p:cNvSpPr>
            <a:spLocks noGrp="1" noChangeArrowheads="1"/>
          </p:cNvSpPr>
          <p:nvPr>
            <p:ph type="title"/>
          </p:nvPr>
        </p:nvSpPr>
        <p:spPr/>
        <p:txBody>
          <a:bodyPr/>
          <a:lstStyle/>
          <a:p>
            <a:r>
              <a:rPr lang="de-DE" altLang="de-DE" sz="2400"/>
              <a:t>Kostenberechnungen zum Hochschulpakt</a:t>
            </a:r>
          </a:p>
        </p:txBody>
      </p:sp>
      <p:graphicFrame>
        <p:nvGraphicFramePr>
          <p:cNvPr id="75779" name="Object 3">
            <a:extLst>
              <a:ext uri="{FF2B5EF4-FFF2-40B4-BE49-F238E27FC236}">
                <a16:creationId xmlns:a16="http://schemas.microsoft.com/office/drawing/2014/main" id="{E0A3DA45-48B4-9246-AA3A-A185FE4E1C97}"/>
              </a:ext>
            </a:extLst>
          </p:cNvPr>
          <p:cNvGraphicFramePr>
            <a:graphicFrameLocks noChangeAspect="1"/>
          </p:cNvGraphicFramePr>
          <p:nvPr>
            <p:ph idx="1"/>
          </p:nvPr>
        </p:nvGraphicFramePr>
        <p:xfrm>
          <a:off x="900113" y="1196975"/>
          <a:ext cx="7272337" cy="4787900"/>
        </p:xfrm>
        <a:graphic>
          <a:graphicData uri="http://schemas.openxmlformats.org/presentationml/2006/ole">
            <mc:AlternateContent xmlns:mc="http://schemas.openxmlformats.org/markup-compatibility/2006">
              <mc:Choice xmlns:v="urn:schemas-microsoft-com:vml" Requires="v">
                <p:oleObj spid="_x0000_s75787" name="Diagramm" r:id="rId4" imgW="4673600" imgH="3416300" progId="Excel.Chart.8">
                  <p:embed/>
                </p:oleObj>
              </mc:Choice>
              <mc:Fallback>
                <p:oleObj name="Diagramm" r:id="rId4" imgW="4673600" imgH="3416300" progId="Excel.Chart.8">
                  <p:embed/>
                  <p:pic>
                    <p:nvPicPr>
                      <p:cNvPr id="0"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0113" y="1196975"/>
                        <a:ext cx="7272337" cy="4787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5782" name="Text Box 6">
            <a:extLst>
              <a:ext uri="{FF2B5EF4-FFF2-40B4-BE49-F238E27FC236}">
                <a16:creationId xmlns:a16="http://schemas.microsoft.com/office/drawing/2014/main" id="{D06B4DE0-F619-974F-91F3-91D0A0DECAD1}"/>
              </a:ext>
            </a:extLst>
          </p:cNvPr>
          <p:cNvSpPr txBox="1">
            <a:spLocks noChangeArrowheads="1"/>
          </p:cNvSpPr>
          <p:nvPr/>
        </p:nvSpPr>
        <p:spPr bwMode="auto">
          <a:xfrm>
            <a:off x="3492500" y="1700213"/>
            <a:ext cx="33083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de-DE" b="1">
                <a:solidFill>
                  <a:srgbClr val="CC0000"/>
                </a:solidFill>
              </a:rPr>
              <a:t>Summe: 19,9 Milliarden Euro</a:t>
            </a:r>
          </a:p>
        </p:txBody>
      </p:sp>
      <p:sp>
        <p:nvSpPr>
          <p:cNvPr id="75783" name="Line 7">
            <a:extLst>
              <a:ext uri="{FF2B5EF4-FFF2-40B4-BE49-F238E27FC236}">
                <a16:creationId xmlns:a16="http://schemas.microsoft.com/office/drawing/2014/main" id="{384EEF7D-B185-D648-87B8-9F04289AE217}"/>
              </a:ext>
            </a:extLst>
          </p:cNvPr>
          <p:cNvSpPr>
            <a:spLocks noChangeShapeType="1"/>
          </p:cNvSpPr>
          <p:nvPr/>
        </p:nvSpPr>
        <p:spPr bwMode="auto">
          <a:xfrm flipV="1">
            <a:off x="3563938" y="1412875"/>
            <a:ext cx="0" cy="2879725"/>
          </a:xfrm>
          <a:prstGeom prst="line">
            <a:avLst/>
          </a:prstGeom>
          <a:noFill/>
          <a:ln w="28575">
            <a:solidFill>
              <a:srgbClr val="CC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75784" name="Text Box 8">
            <a:extLst>
              <a:ext uri="{FF2B5EF4-FFF2-40B4-BE49-F238E27FC236}">
                <a16:creationId xmlns:a16="http://schemas.microsoft.com/office/drawing/2014/main" id="{E6669D54-32C9-6C47-8844-AF098B18B931}"/>
              </a:ext>
            </a:extLst>
          </p:cNvPr>
          <p:cNvSpPr txBox="1">
            <a:spLocks noChangeArrowheads="1"/>
          </p:cNvSpPr>
          <p:nvPr/>
        </p:nvSpPr>
        <p:spPr bwMode="auto">
          <a:xfrm>
            <a:off x="2555875" y="1557338"/>
            <a:ext cx="32702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de-DE">
                <a:solidFill>
                  <a:srgbClr val="CC0000"/>
                </a:solidFill>
              </a:rPr>
              <a:t>Aktuelles Ende Hochschulpakt</a:t>
            </a:r>
          </a:p>
        </p:txBody>
      </p:sp>
      <p:sp>
        <p:nvSpPr>
          <p:cNvPr id="75785" name="Text Box 9">
            <a:extLst>
              <a:ext uri="{FF2B5EF4-FFF2-40B4-BE49-F238E27FC236}">
                <a16:creationId xmlns:a16="http://schemas.microsoft.com/office/drawing/2014/main" id="{5A24A8BF-7DAB-D74B-8CCC-EC0EBE072836}"/>
              </a:ext>
            </a:extLst>
          </p:cNvPr>
          <p:cNvSpPr txBox="1">
            <a:spLocks noChangeArrowheads="1"/>
          </p:cNvSpPr>
          <p:nvPr/>
        </p:nvSpPr>
        <p:spPr bwMode="auto">
          <a:xfrm>
            <a:off x="3348038" y="1700213"/>
            <a:ext cx="31813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de-DE" b="1">
                <a:solidFill>
                  <a:srgbClr val="CC0000"/>
                </a:solidFill>
              </a:rPr>
              <a:t>Summe: 7,6 Milliarden Euro</a:t>
            </a:r>
          </a:p>
        </p:txBody>
      </p:sp>
      <p:sp>
        <p:nvSpPr>
          <p:cNvPr id="75786" name="Text Box 10">
            <a:extLst>
              <a:ext uri="{FF2B5EF4-FFF2-40B4-BE49-F238E27FC236}">
                <a16:creationId xmlns:a16="http://schemas.microsoft.com/office/drawing/2014/main" id="{7909C534-1E84-804F-B11C-CAEA321D5FA5}"/>
              </a:ext>
            </a:extLst>
          </p:cNvPr>
          <p:cNvSpPr txBox="1">
            <a:spLocks noChangeArrowheads="1"/>
          </p:cNvSpPr>
          <p:nvPr/>
        </p:nvSpPr>
        <p:spPr bwMode="auto">
          <a:xfrm>
            <a:off x="3348038" y="1700213"/>
            <a:ext cx="33083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de-DE" b="1">
                <a:solidFill>
                  <a:srgbClr val="CC0000"/>
                </a:solidFill>
              </a:rPr>
              <a:t>Summe: 14,9 Milliarden Euro</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2" nodeType="clickEffect">
                                  <p:stCondLst>
                                    <p:cond delay="0"/>
                                  </p:stCondLst>
                                  <p:childTnLst>
                                    <p:set>
                                      <p:cBhvr>
                                        <p:cTn id="6" dur="1" fill="hold">
                                          <p:stCondLst>
                                            <p:cond delay="0"/>
                                          </p:stCondLst>
                                        </p:cTn>
                                        <p:tgtEl>
                                          <p:spTgt spid="75779">
                                            <p:oleChartEl type="gridLegend"/>
                                          </p:spTgt>
                                        </p:tgtEl>
                                        <p:attrNameLst>
                                          <p:attrName>style.visibility</p:attrName>
                                        </p:attrNameLst>
                                      </p:cBhvr>
                                      <p:to>
                                        <p:strVal val="visible"/>
                                      </p:to>
                                    </p:set>
                                    <p:animEffect transition="in" filter="blinds(horizontal)">
                                      <p:cBhvr>
                                        <p:cTn id="7" dur="500"/>
                                        <p:tgtEl>
                                          <p:spTgt spid="75779">
                                            <p:oleChartEl type="gridLegend"/>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grpId="2" nodeType="clickEffect">
                                  <p:stCondLst>
                                    <p:cond delay="0"/>
                                  </p:stCondLst>
                                  <p:childTnLst>
                                    <p:set>
                                      <p:cBhvr>
                                        <p:cTn id="11" dur="1" fill="hold">
                                          <p:stCondLst>
                                            <p:cond delay="0"/>
                                          </p:stCondLst>
                                        </p:cTn>
                                        <p:tgtEl>
                                          <p:spTgt spid="75779">
                                            <p:oleChartEl type="series" lvl="1"/>
                                          </p:spTgt>
                                        </p:tgtEl>
                                        <p:attrNameLst>
                                          <p:attrName>style.visibility</p:attrName>
                                        </p:attrNameLst>
                                      </p:cBhvr>
                                      <p:to>
                                        <p:strVal val="visible"/>
                                      </p:to>
                                    </p:set>
                                    <p:animEffect transition="in" filter="blinds(horizontal)">
                                      <p:cBhvr>
                                        <p:cTn id="12" dur="500"/>
                                        <p:tgtEl>
                                          <p:spTgt spid="75779">
                                            <p:oleChartEl type="series" lvl="1"/>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75785"/>
                                        </p:tgtEl>
                                        <p:attrNameLst>
                                          <p:attrName>style.visibility</p:attrName>
                                        </p:attrNameLst>
                                      </p:cBhvr>
                                      <p:to>
                                        <p:strVal val="visible"/>
                                      </p:to>
                                    </p:set>
                                    <p:animEffect transition="in" filter="blinds(horizontal)">
                                      <p:cBhvr>
                                        <p:cTn id="17" dur="500"/>
                                        <p:tgtEl>
                                          <p:spTgt spid="75785"/>
                                        </p:tgtEl>
                                      </p:cBhvr>
                                    </p:animEffect>
                                  </p:childTnLst>
                                  <p:subTnLst>
                                    <p:set>
                                      <p:cBhvr override="childStyle">
                                        <p:cTn dur="1" fill="hold" display="0" masterRel="nextClick" afterEffect="1"/>
                                        <p:tgtEl>
                                          <p:spTgt spid="75785"/>
                                        </p:tgtEl>
                                        <p:attrNameLst>
                                          <p:attrName>style.visibility</p:attrName>
                                        </p:attrNameLst>
                                      </p:cBhvr>
                                      <p:to>
                                        <p:strVal val="hidden"/>
                                      </p:to>
                                    </p:set>
                                  </p:subTnLst>
                                </p:cTn>
                              </p:par>
                            </p:childTnLst>
                          </p:cTn>
                        </p:par>
                      </p:childTnLst>
                    </p:cTn>
                  </p:par>
                  <p:par>
                    <p:cTn id="18" fill="hold" nodeType="clickPar">
                      <p:stCondLst>
                        <p:cond delay="indefinite"/>
                      </p:stCondLst>
                      <p:childTnLst>
                        <p:par>
                          <p:cTn id="19" fill="hold" nodeType="withGroup">
                            <p:stCondLst>
                              <p:cond delay="0"/>
                            </p:stCondLst>
                            <p:childTnLst>
                              <p:par>
                                <p:cTn id="20" presetID="3" presetClass="entr" presetSubtype="10" fill="hold" grpId="2" nodeType="clickEffect">
                                  <p:stCondLst>
                                    <p:cond delay="0"/>
                                  </p:stCondLst>
                                  <p:childTnLst>
                                    <p:set>
                                      <p:cBhvr>
                                        <p:cTn id="21" dur="1" fill="hold">
                                          <p:stCondLst>
                                            <p:cond delay="0"/>
                                          </p:stCondLst>
                                        </p:cTn>
                                        <p:tgtEl>
                                          <p:spTgt spid="75779">
                                            <p:oleChartEl type="series" lvl="2"/>
                                          </p:spTgt>
                                        </p:tgtEl>
                                        <p:attrNameLst>
                                          <p:attrName>style.visibility</p:attrName>
                                        </p:attrNameLst>
                                      </p:cBhvr>
                                      <p:to>
                                        <p:strVal val="visible"/>
                                      </p:to>
                                    </p:set>
                                    <p:animEffect transition="in" filter="blinds(horizontal)">
                                      <p:cBhvr>
                                        <p:cTn id="22" dur="500"/>
                                        <p:tgtEl>
                                          <p:spTgt spid="75779">
                                            <p:oleChartEl type="series" lvl="2"/>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75786"/>
                                        </p:tgtEl>
                                        <p:attrNameLst>
                                          <p:attrName>style.visibility</p:attrName>
                                        </p:attrNameLst>
                                      </p:cBhvr>
                                      <p:to>
                                        <p:strVal val="visible"/>
                                      </p:to>
                                    </p:set>
                                    <p:animEffect transition="in" filter="blinds(horizontal)">
                                      <p:cBhvr>
                                        <p:cTn id="27" dur="500"/>
                                        <p:tgtEl>
                                          <p:spTgt spid="75786"/>
                                        </p:tgtEl>
                                      </p:cBhvr>
                                    </p:animEffect>
                                  </p:childTnLst>
                                  <p:subTnLst>
                                    <p:set>
                                      <p:cBhvr override="childStyle">
                                        <p:cTn dur="1" fill="hold" display="0" masterRel="nextClick" afterEffect="1"/>
                                        <p:tgtEl>
                                          <p:spTgt spid="75786"/>
                                        </p:tgtEl>
                                        <p:attrNameLst>
                                          <p:attrName>style.visibility</p:attrName>
                                        </p:attrNameLst>
                                      </p:cBhvr>
                                      <p:to>
                                        <p:strVal val="hidden"/>
                                      </p:to>
                                    </p:set>
                                  </p:subTnLst>
                                </p:cTn>
                              </p:par>
                            </p:childTnLst>
                          </p:cTn>
                        </p:par>
                      </p:childTnLst>
                    </p:cTn>
                  </p:par>
                  <p:par>
                    <p:cTn id="28" fill="hold" nodeType="clickPar">
                      <p:stCondLst>
                        <p:cond delay="indefinite"/>
                      </p:stCondLst>
                      <p:childTnLst>
                        <p:par>
                          <p:cTn id="29" fill="hold" nodeType="withGroup">
                            <p:stCondLst>
                              <p:cond delay="0"/>
                            </p:stCondLst>
                            <p:childTnLst>
                              <p:par>
                                <p:cTn id="30" presetID="3" presetClass="entr" presetSubtype="10" fill="hold" grpId="2" nodeType="clickEffect">
                                  <p:stCondLst>
                                    <p:cond delay="0"/>
                                  </p:stCondLst>
                                  <p:childTnLst>
                                    <p:set>
                                      <p:cBhvr>
                                        <p:cTn id="31" dur="1" fill="hold">
                                          <p:stCondLst>
                                            <p:cond delay="0"/>
                                          </p:stCondLst>
                                        </p:cTn>
                                        <p:tgtEl>
                                          <p:spTgt spid="75779">
                                            <p:oleChartEl type="series" lvl="3"/>
                                          </p:spTgt>
                                        </p:tgtEl>
                                        <p:attrNameLst>
                                          <p:attrName>style.visibility</p:attrName>
                                        </p:attrNameLst>
                                      </p:cBhvr>
                                      <p:to>
                                        <p:strVal val="visible"/>
                                      </p:to>
                                    </p:set>
                                    <p:animEffect transition="in" filter="blinds(horizontal)">
                                      <p:cBhvr>
                                        <p:cTn id="32" dur="500"/>
                                        <p:tgtEl>
                                          <p:spTgt spid="75779">
                                            <p:oleChartEl type="series" lvl="3"/>
                                          </p:spTgt>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3" presetClass="entr" presetSubtype="10" fill="hold" grpId="0" nodeType="clickEffect">
                                  <p:stCondLst>
                                    <p:cond delay="0"/>
                                  </p:stCondLst>
                                  <p:childTnLst>
                                    <p:set>
                                      <p:cBhvr>
                                        <p:cTn id="36" dur="1" fill="hold">
                                          <p:stCondLst>
                                            <p:cond delay="0"/>
                                          </p:stCondLst>
                                        </p:cTn>
                                        <p:tgtEl>
                                          <p:spTgt spid="75782"/>
                                        </p:tgtEl>
                                        <p:attrNameLst>
                                          <p:attrName>style.visibility</p:attrName>
                                        </p:attrNameLst>
                                      </p:cBhvr>
                                      <p:to>
                                        <p:strVal val="visible"/>
                                      </p:to>
                                    </p:set>
                                    <p:animEffect transition="in" filter="blinds(horizontal)">
                                      <p:cBhvr>
                                        <p:cTn id="37" dur="500"/>
                                        <p:tgtEl>
                                          <p:spTgt spid="75782"/>
                                        </p:tgtEl>
                                      </p:cBhvr>
                                    </p:animEffect>
                                  </p:childTnLst>
                                  <p:subTnLst>
                                    <p:set>
                                      <p:cBhvr override="childStyle">
                                        <p:cTn dur="1" fill="hold" display="0" masterRel="nextClick" afterEffect="1"/>
                                        <p:tgtEl>
                                          <p:spTgt spid="75782"/>
                                        </p:tgtEl>
                                        <p:attrNameLst>
                                          <p:attrName>style.visibility</p:attrName>
                                        </p:attrNameLst>
                                      </p:cBhvr>
                                      <p:to>
                                        <p:strVal val="hidden"/>
                                      </p:to>
                                    </p:set>
                                  </p:subTnLst>
                                </p:cTn>
                              </p:par>
                            </p:childTnLst>
                          </p:cTn>
                        </p:par>
                      </p:childTnLst>
                    </p:cTn>
                  </p:par>
                  <p:par>
                    <p:cTn id="38" fill="hold" nodeType="clickPar">
                      <p:stCondLst>
                        <p:cond delay="indefinite"/>
                      </p:stCondLst>
                      <p:childTnLst>
                        <p:par>
                          <p:cTn id="39" fill="hold" nodeType="withGroup">
                            <p:stCondLst>
                              <p:cond delay="0"/>
                            </p:stCondLst>
                            <p:childTnLst>
                              <p:par>
                                <p:cTn id="40" presetID="3" presetClass="entr" presetSubtype="10" fill="hold" nodeType="clickEffect">
                                  <p:stCondLst>
                                    <p:cond delay="0"/>
                                  </p:stCondLst>
                                  <p:childTnLst>
                                    <p:set>
                                      <p:cBhvr>
                                        <p:cTn id="41" dur="1" fill="hold">
                                          <p:stCondLst>
                                            <p:cond delay="0"/>
                                          </p:stCondLst>
                                        </p:cTn>
                                        <p:tgtEl>
                                          <p:spTgt spid="75783"/>
                                        </p:tgtEl>
                                        <p:attrNameLst>
                                          <p:attrName>style.visibility</p:attrName>
                                        </p:attrNameLst>
                                      </p:cBhvr>
                                      <p:to>
                                        <p:strVal val="visible"/>
                                      </p:to>
                                    </p:set>
                                    <p:animEffect transition="in" filter="blinds(horizontal)">
                                      <p:cBhvr>
                                        <p:cTn id="42" dur="500"/>
                                        <p:tgtEl>
                                          <p:spTgt spid="75783"/>
                                        </p:tgtEl>
                                      </p:cBhvr>
                                    </p:animEffect>
                                  </p:childTnLst>
                                </p:cTn>
                              </p:par>
                              <p:par>
                                <p:cTn id="43" presetID="3" presetClass="entr" presetSubtype="10" fill="hold" grpId="0" nodeType="withEffect">
                                  <p:stCondLst>
                                    <p:cond delay="0"/>
                                  </p:stCondLst>
                                  <p:childTnLst>
                                    <p:set>
                                      <p:cBhvr>
                                        <p:cTn id="44" dur="1" fill="hold">
                                          <p:stCondLst>
                                            <p:cond delay="0"/>
                                          </p:stCondLst>
                                        </p:cTn>
                                        <p:tgtEl>
                                          <p:spTgt spid="75784"/>
                                        </p:tgtEl>
                                        <p:attrNameLst>
                                          <p:attrName>style.visibility</p:attrName>
                                        </p:attrNameLst>
                                      </p:cBhvr>
                                      <p:to>
                                        <p:strVal val="visible"/>
                                      </p:to>
                                    </p:set>
                                    <p:animEffect transition="in" filter="blinds(horizontal)">
                                      <p:cBhvr>
                                        <p:cTn id="45" dur="500"/>
                                        <p:tgtEl>
                                          <p:spTgt spid="757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75779" grpId="2" uiExpand="1" bld="series"/>
      <p:bldP spid="75782" grpId="0"/>
      <p:bldP spid="75784" grpId="0"/>
      <p:bldP spid="75785" grpId="0"/>
      <p:bldP spid="7578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ußzeilenplatzhalter 3">
            <a:extLst>
              <a:ext uri="{FF2B5EF4-FFF2-40B4-BE49-F238E27FC236}">
                <a16:creationId xmlns:a16="http://schemas.microsoft.com/office/drawing/2014/main" id="{9A2FB5D8-9B78-2845-9181-8DCAD87776FD}"/>
              </a:ext>
            </a:extLst>
          </p:cNvPr>
          <p:cNvSpPr>
            <a:spLocks noGrp="1"/>
          </p:cNvSpPr>
          <p:nvPr>
            <p:ph type="ftr" sz="quarter" idx="10"/>
          </p:nvPr>
        </p:nvSpPr>
        <p:spPr/>
        <p:txBody>
          <a:bodyPr/>
          <a:lstStyle/>
          <a:p>
            <a:r>
              <a:rPr lang="de-DE" altLang="de-DE"/>
              <a:t>Studienanfängerhoch und Mobilität | Detlef Müller-Böling | 27.08.2007</a:t>
            </a:r>
          </a:p>
        </p:txBody>
      </p:sp>
      <p:sp>
        <p:nvSpPr>
          <p:cNvPr id="9" name="Foliennummernplatzhalter 4">
            <a:extLst>
              <a:ext uri="{FF2B5EF4-FFF2-40B4-BE49-F238E27FC236}">
                <a16:creationId xmlns:a16="http://schemas.microsoft.com/office/drawing/2014/main" id="{2B2667D8-0774-514E-97E3-6A2D601AD1DD}"/>
              </a:ext>
            </a:extLst>
          </p:cNvPr>
          <p:cNvSpPr>
            <a:spLocks noGrp="1"/>
          </p:cNvSpPr>
          <p:nvPr>
            <p:ph type="sldNum" sz="quarter" idx="11"/>
          </p:nvPr>
        </p:nvSpPr>
        <p:spPr/>
        <p:txBody>
          <a:bodyPr/>
          <a:lstStyle/>
          <a:p>
            <a:fld id="{A999E7E0-1544-6045-81B1-EDED754A8C1A}" type="slidenum">
              <a:rPr lang="de-DE" altLang="de-DE"/>
              <a:pPr/>
              <a:t>9</a:t>
            </a:fld>
            <a:endParaRPr lang="de-DE" altLang="de-DE"/>
          </a:p>
        </p:txBody>
      </p:sp>
      <p:sp>
        <p:nvSpPr>
          <p:cNvPr id="71682" name="Rectangle 2">
            <a:extLst>
              <a:ext uri="{FF2B5EF4-FFF2-40B4-BE49-F238E27FC236}">
                <a16:creationId xmlns:a16="http://schemas.microsoft.com/office/drawing/2014/main" id="{A4235C40-3532-9D4B-8669-47E1632DF98F}"/>
              </a:ext>
            </a:extLst>
          </p:cNvPr>
          <p:cNvSpPr>
            <a:spLocks noGrp="1" noChangeArrowheads="1"/>
          </p:cNvSpPr>
          <p:nvPr>
            <p:ph type="title"/>
          </p:nvPr>
        </p:nvSpPr>
        <p:spPr/>
        <p:txBody>
          <a:bodyPr/>
          <a:lstStyle/>
          <a:p>
            <a:r>
              <a:rPr lang="de-DE" altLang="de-DE" sz="2400"/>
              <a:t>Kostenberechnungen zum Hochschulpakt</a:t>
            </a:r>
          </a:p>
        </p:txBody>
      </p:sp>
      <p:graphicFrame>
        <p:nvGraphicFramePr>
          <p:cNvPr id="71685" name="Object 5">
            <a:extLst>
              <a:ext uri="{FF2B5EF4-FFF2-40B4-BE49-F238E27FC236}">
                <a16:creationId xmlns:a16="http://schemas.microsoft.com/office/drawing/2014/main" id="{62002673-C787-BF49-A113-6D25AADB16D6}"/>
              </a:ext>
            </a:extLst>
          </p:cNvPr>
          <p:cNvGraphicFramePr>
            <a:graphicFrameLocks noGrp="1"/>
          </p:cNvGraphicFramePr>
          <p:nvPr>
            <p:ph idx="1"/>
          </p:nvPr>
        </p:nvGraphicFramePr>
        <p:xfrm>
          <a:off x="898525" y="1196975"/>
          <a:ext cx="7273925" cy="4786313"/>
        </p:xfrm>
        <a:graphic>
          <a:graphicData uri="http://schemas.openxmlformats.org/presentationml/2006/ole">
            <mc:AlternateContent xmlns:mc="http://schemas.openxmlformats.org/markup-compatibility/2006">
              <mc:Choice xmlns:v="urn:schemas-microsoft-com:vml" Requires="v">
                <p:oleObj spid="_x0000_s71691" name="Diagramm" r:id="rId4" imgW="4686300" imgH="3429000" progId="Excel.Chart.8">
                  <p:embed/>
                </p:oleObj>
              </mc:Choice>
              <mc:Fallback>
                <p:oleObj name="Diagramm" r:id="rId4" imgW="4686300" imgH="3429000" progId="Excel.Chart.8">
                  <p:embed/>
                  <p:pic>
                    <p:nvPicPr>
                      <p:cNvPr id="0" name="Object 5"/>
                      <p:cNvPicPr preferRelativeResize="0">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8525" y="1196975"/>
                        <a:ext cx="7273925" cy="4786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1686" name="Rectangle 6">
            <a:extLst>
              <a:ext uri="{FF2B5EF4-FFF2-40B4-BE49-F238E27FC236}">
                <a16:creationId xmlns:a16="http://schemas.microsoft.com/office/drawing/2014/main" id="{31913C56-95A0-444F-A778-455D1044F667}"/>
              </a:ext>
            </a:extLst>
          </p:cNvPr>
          <p:cNvSpPr>
            <a:spLocks noChangeArrowheads="1"/>
          </p:cNvSpPr>
          <p:nvPr/>
        </p:nvSpPr>
        <p:spPr bwMode="auto">
          <a:xfrm>
            <a:off x="3563938" y="3933825"/>
            <a:ext cx="503237" cy="287338"/>
          </a:xfrm>
          <a:prstGeom prst="rect">
            <a:avLst/>
          </a:prstGeom>
          <a:solidFill>
            <a:srgbClr val="80808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1687" name="Line 7">
            <a:extLst>
              <a:ext uri="{FF2B5EF4-FFF2-40B4-BE49-F238E27FC236}">
                <a16:creationId xmlns:a16="http://schemas.microsoft.com/office/drawing/2014/main" id="{3CB012A4-51A2-9E43-B90E-BB8B7419F33D}"/>
              </a:ext>
            </a:extLst>
          </p:cNvPr>
          <p:cNvSpPr>
            <a:spLocks noChangeShapeType="1"/>
          </p:cNvSpPr>
          <p:nvPr/>
        </p:nvSpPr>
        <p:spPr bwMode="auto">
          <a:xfrm flipV="1">
            <a:off x="3563938" y="1412875"/>
            <a:ext cx="0" cy="2879725"/>
          </a:xfrm>
          <a:prstGeom prst="line">
            <a:avLst/>
          </a:prstGeom>
          <a:noFill/>
          <a:ln w="28575">
            <a:solidFill>
              <a:srgbClr val="CC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71688" name="Text Box 8">
            <a:extLst>
              <a:ext uri="{FF2B5EF4-FFF2-40B4-BE49-F238E27FC236}">
                <a16:creationId xmlns:a16="http://schemas.microsoft.com/office/drawing/2014/main" id="{FBBB8A9E-9C7A-474F-8417-67AC383973E5}"/>
              </a:ext>
            </a:extLst>
          </p:cNvPr>
          <p:cNvSpPr txBox="1">
            <a:spLocks noChangeArrowheads="1"/>
          </p:cNvSpPr>
          <p:nvPr/>
        </p:nvSpPr>
        <p:spPr bwMode="auto">
          <a:xfrm>
            <a:off x="2555875" y="1557338"/>
            <a:ext cx="32702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de-DE">
                <a:solidFill>
                  <a:srgbClr val="CC0000"/>
                </a:solidFill>
              </a:rPr>
              <a:t>Aktuelles Ende Hochschulpakt</a:t>
            </a:r>
          </a:p>
        </p:txBody>
      </p:sp>
      <p:sp>
        <p:nvSpPr>
          <p:cNvPr id="71690" name="Text Box 10">
            <a:extLst>
              <a:ext uri="{FF2B5EF4-FFF2-40B4-BE49-F238E27FC236}">
                <a16:creationId xmlns:a16="http://schemas.microsoft.com/office/drawing/2014/main" id="{40A83515-36A5-7646-918B-46FEEDF72145}"/>
              </a:ext>
            </a:extLst>
          </p:cNvPr>
          <p:cNvSpPr txBox="1">
            <a:spLocks noChangeArrowheads="1"/>
          </p:cNvSpPr>
          <p:nvPr/>
        </p:nvSpPr>
        <p:spPr bwMode="auto">
          <a:xfrm>
            <a:off x="3851275" y="2924175"/>
            <a:ext cx="26352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de-DE" b="1">
                <a:solidFill>
                  <a:srgbClr val="0000FF"/>
                </a:solidFill>
              </a:rPr>
              <a:t>Summe: 438 Mio. Euro</a:t>
            </a:r>
          </a:p>
        </p:txBody>
      </p:sp>
    </p:spTree>
  </p:cSld>
  <p:clrMapOvr>
    <a:masterClrMapping/>
  </p:clrMapOvr>
  <p:transition>
    <p:blinds dir="vert"/>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1690"/>
                                        </p:tgtEl>
                                        <p:attrNameLst>
                                          <p:attrName>style.visibility</p:attrName>
                                        </p:attrNameLst>
                                      </p:cBhvr>
                                      <p:to>
                                        <p:strVal val="visible"/>
                                      </p:to>
                                    </p:set>
                                    <p:animEffect transition="in" filter="blinds(horizontal)">
                                      <p:cBhvr>
                                        <p:cTn id="7" dur="500"/>
                                        <p:tgtEl>
                                          <p:spTgt spid="716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69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aKcchveXTEucDZFYeaRO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kWy1rWRUG18JVaNlIt0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yzhln2XxDkCFLZyMmNDn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8TUskx_3s0yFOfSIKwcA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aKcchveXTEucDZFYeaRO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9kWy1rWRUG18JVaNlIt0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yzhln2XxDkCFLZyMmNDn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8TUskx_3s0yFOfSIKwcAVQ"/>
</p:tagLst>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726</Words>
  <Application>Microsoft Macintosh PowerPoint</Application>
  <PresentationFormat>Bildschirmpräsentation (4:3)</PresentationFormat>
  <Paragraphs>229</Paragraphs>
  <Slides>25</Slides>
  <Notes>25</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2</vt:i4>
      </vt:variant>
      <vt:variant>
        <vt:lpstr>Folientitel</vt:lpstr>
      </vt:variant>
      <vt:variant>
        <vt:i4>25</vt:i4>
      </vt:variant>
    </vt:vector>
  </HeadingPairs>
  <TitlesOfParts>
    <vt:vector size="30" baseType="lpstr">
      <vt:lpstr>Arial</vt:lpstr>
      <vt:lpstr>Wingdings</vt:lpstr>
      <vt:lpstr>Standarddesign</vt:lpstr>
      <vt:lpstr>Microsoft Office Excel-Diagramm</vt:lpstr>
      <vt:lpstr>Microsoft Graph-Diagramm</vt:lpstr>
      <vt:lpstr>Studienanfängerhoch  und Mobilität</vt:lpstr>
      <vt:lpstr>Gliederung</vt:lpstr>
      <vt:lpstr>Annahmenset</vt:lpstr>
      <vt:lpstr>Gründe für den Indikator Studienanfänger</vt:lpstr>
      <vt:lpstr>Prognose der zusätzlichen Nachfrage nach Studienanfängerplätzen bis 2020</vt:lpstr>
      <vt:lpstr>Prognose der zusätzlichen Nachfrage nach Studienanfängerplätzen bis 2020</vt:lpstr>
      <vt:lpstr>Prognose der zusätzlichen Nachfrage nach Studienanfängerplätzen bis 2020</vt:lpstr>
      <vt:lpstr>Kostenberechnungen zum Hochschulpakt</vt:lpstr>
      <vt:lpstr>Kostenberechnungen zum Hochschulpakt</vt:lpstr>
      <vt:lpstr>Vergleich der Gesamtkosten bis 2020</vt:lpstr>
      <vt:lpstr>Vergleich zusätzliche Kosten zu aktuellen Ausgaben</vt:lpstr>
      <vt:lpstr>Gliederung</vt:lpstr>
      <vt:lpstr>Der demographische Vektor</vt:lpstr>
      <vt:lpstr>Innerdeutsche Mobilität</vt:lpstr>
      <vt:lpstr>Innerdeutsche Mobilität</vt:lpstr>
      <vt:lpstr>Mobilitätsraten im Vergleich</vt:lpstr>
      <vt:lpstr>Einsparpotentiale durch erhöhte Mobilität</vt:lpstr>
      <vt:lpstr>Gliederung</vt:lpstr>
      <vt:lpstr>Regionale Abweichungen - Bayern</vt:lpstr>
      <vt:lpstr>Regionale Abweichungen - Brandenburg</vt:lpstr>
      <vt:lpstr>Analyse der Einzugsstrukturen - Land</vt:lpstr>
      <vt:lpstr>Analyse der Einzugsstrukturen - Hochschule</vt:lpstr>
      <vt:lpstr>Prognose der Studienanfängerzahlen - Hochschule</vt:lpstr>
      <vt:lpstr>Analyse der Einzugsstrukturen - Hochschule</vt:lpstr>
      <vt:lpstr>Analyse der Einzugsstrukturen - Hochschule</vt:lpstr>
    </vt:vector>
  </TitlesOfParts>
  <Company>CHE - Centrum für Hochschulentwickl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Lars Hüning</dc:creator>
  <cp:lastModifiedBy>Detlef Müller-Böling</cp:lastModifiedBy>
  <cp:revision>42</cp:revision>
  <dcterms:created xsi:type="dcterms:W3CDTF">2007-03-01T14:35:06Z</dcterms:created>
  <dcterms:modified xsi:type="dcterms:W3CDTF">2022-02-07T16:44:58Z</dcterms:modified>
</cp:coreProperties>
</file>